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2"/>
  </p:notesMasterIdLst>
  <p:handoutMasterIdLst>
    <p:handoutMasterId r:id="rId63"/>
  </p:handoutMasterIdLst>
  <p:sldIdLst>
    <p:sldId id="256" r:id="rId5"/>
    <p:sldId id="274" r:id="rId6"/>
    <p:sldId id="289" r:id="rId7"/>
    <p:sldId id="291" r:id="rId8"/>
    <p:sldId id="292" r:id="rId9"/>
    <p:sldId id="293" r:id="rId10"/>
    <p:sldId id="336" r:id="rId11"/>
    <p:sldId id="294" r:id="rId12"/>
    <p:sldId id="295" r:id="rId13"/>
    <p:sldId id="296" r:id="rId14"/>
    <p:sldId id="297" r:id="rId15"/>
    <p:sldId id="298" r:id="rId16"/>
    <p:sldId id="300" r:id="rId17"/>
    <p:sldId id="299" r:id="rId18"/>
    <p:sldId id="301" r:id="rId19"/>
    <p:sldId id="302" r:id="rId20"/>
    <p:sldId id="304" r:id="rId21"/>
    <p:sldId id="305" r:id="rId22"/>
    <p:sldId id="306" r:id="rId23"/>
    <p:sldId id="307" r:id="rId24"/>
    <p:sldId id="309" r:id="rId25"/>
    <p:sldId id="310" r:id="rId26"/>
    <p:sldId id="308" r:id="rId27"/>
    <p:sldId id="311" r:id="rId28"/>
    <p:sldId id="312" r:id="rId29"/>
    <p:sldId id="313" r:id="rId30"/>
    <p:sldId id="314" r:id="rId31"/>
    <p:sldId id="315" r:id="rId32"/>
    <p:sldId id="316" r:id="rId33"/>
    <p:sldId id="317" r:id="rId34"/>
    <p:sldId id="318" r:id="rId35"/>
    <p:sldId id="319" r:id="rId36"/>
    <p:sldId id="320" r:id="rId37"/>
    <p:sldId id="321" r:id="rId38"/>
    <p:sldId id="322" r:id="rId39"/>
    <p:sldId id="323" r:id="rId40"/>
    <p:sldId id="324" r:id="rId41"/>
    <p:sldId id="325" r:id="rId42"/>
    <p:sldId id="326" r:id="rId43"/>
    <p:sldId id="327" r:id="rId44"/>
    <p:sldId id="328" r:id="rId45"/>
    <p:sldId id="329" r:id="rId46"/>
    <p:sldId id="330" r:id="rId47"/>
    <p:sldId id="331" r:id="rId48"/>
    <p:sldId id="334" r:id="rId49"/>
    <p:sldId id="333" r:id="rId50"/>
    <p:sldId id="338" r:id="rId51"/>
    <p:sldId id="337" r:id="rId52"/>
    <p:sldId id="339" r:id="rId53"/>
    <p:sldId id="340" r:id="rId54"/>
    <p:sldId id="341" r:id="rId55"/>
    <p:sldId id="342" r:id="rId56"/>
    <p:sldId id="343" r:id="rId57"/>
    <p:sldId id="345" r:id="rId58"/>
    <p:sldId id="346" r:id="rId59"/>
    <p:sldId id="335" r:id="rId60"/>
    <p:sldId id="290" r:id="rId61"/>
  </p:sldIdLst>
  <p:sldSz cx="12192000" cy="6858000"/>
  <p:notesSz cx="6858000" cy="9144000"/>
  <p:custDataLst>
    <p:tags r:id="rId6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C2B209E7-ADDE-403D-9358-631C2B9B0D88}">
          <p14:sldIdLst>
            <p14:sldId id="256"/>
          </p14:sldIdLst>
        </p14:section>
        <p14:section name="Microsoft 365 Gruppen - Grundlagen" id="{9231A54E-68C6-4E81-9BC5-405820A2458C}">
          <p14:sldIdLst>
            <p14:sldId id="274"/>
            <p14:sldId id="289"/>
            <p14:sldId id="291"/>
            <p14:sldId id="292"/>
            <p14:sldId id="293"/>
            <p14:sldId id="336"/>
          </p14:sldIdLst>
        </p14:section>
        <p14:section name="Zusammenhänge Microsoft 365 Gruppen" id="{2E8F566C-FE2B-4CA0-BEA5-AB5F6A95C4F0}">
          <p14:sldIdLst>
            <p14:sldId id="294"/>
            <p14:sldId id="295"/>
            <p14:sldId id="296"/>
            <p14:sldId id="297"/>
            <p14:sldId id="298"/>
            <p14:sldId id="300"/>
            <p14:sldId id="299"/>
            <p14:sldId id="301"/>
            <p14:sldId id="302"/>
          </p14:sldIdLst>
        </p14:section>
        <p14:section name="Retention und Aufbewahrung" id="{A5233534-8F90-404D-A87D-807F5993A0C5}">
          <p14:sldIdLst>
            <p14:sldId id="304"/>
            <p14:sldId id="305"/>
            <p14:sldId id="306"/>
            <p14:sldId id="307"/>
            <p14:sldId id="309"/>
            <p14:sldId id="310"/>
            <p14:sldId id="308"/>
            <p14:sldId id="311"/>
            <p14:sldId id="312"/>
          </p14:sldIdLst>
        </p14:section>
        <p14:section name="Betriebsaspekte" id="{0EAAF64E-F7B7-41C7-88E0-E63BA1EDFD6B}">
          <p14:sldIdLst>
            <p14:sldId id="313"/>
            <p14:sldId id="314"/>
            <p14:sldId id="315"/>
            <p14:sldId id="316"/>
            <p14:sldId id="317"/>
            <p14:sldId id="318"/>
            <p14:sldId id="319"/>
            <p14:sldId id="320"/>
            <p14:sldId id="321"/>
            <p14:sldId id="322"/>
            <p14:sldId id="323"/>
          </p14:sldIdLst>
        </p14:section>
        <p14:section name="Nutzungsszenarien" id="{7B2850A4-1AFE-44A1-AB99-91CA819A85FB}">
          <p14:sldIdLst>
            <p14:sldId id="324"/>
            <p14:sldId id="325"/>
            <p14:sldId id="326"/>
            <p14:sldId id="327"/>
          </p14:sldIdLst>
        </p14:section>
        <p14:section name="Technik" id="{5BF8F035-9471-44EB-9584-E8C9EF5CE06E}">
          <p14:sldIdLst>
            <p14:sldId id="328"/>
            <p14:sldId id="329"/>
            <p14:sldId id="330"/>
            <p14:sldId id="331"/>
            <p14:sldId id="334"/>
            <p14:sldId id="333"/>
          </p14:sldIdLst>
        </p14:section>
        <p14:section name="M365 Gruppen Nachrichtenfluss" id="{72D11E9B-8168-4757-BF16-0DF71C290FCF}">
          <p14:sldIdLst>
            <p14:sldId id="338"/>
            <p14:sldId id="337"/>
            <p14:sldId id="339"/>
            <p14:sldId id="340"/>
            <p14:sldId id="341"/>
            <p14:sldId id="342"/>
            <p14:sldId id="343"/>
            <p14:sldId id="345"/>
            <p14:sldId id="346"/>
          </p14:sldIdLst>
        </p14:section>
        <p14:section name="Final" id="{20165BAD-A614-41FA-855F-31FDB87DCF55}">
          <p14:sldIdLst>
            <p14:sldId id="335"/>
          </p14:sldIdLst>
        </p14:section>
        <p14:section name="Resources" id="{C39074D6-0C69-42EA-8DDA-3C800E0E1A7F}">
          <p14:sldIdLst>
            <p14:sldId id="29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omas Stensitzki" initials="T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BD5F"/>
    <a:srgbClr val="97C7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7C52934-9D1F-4A55-8B74-95F1C1650845}" v="187" dt="2023-05-11T14:51:07.5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9777" autoAdjust="0"/>
  </p:normalViewPr>
  <p:slideViewPr>
    <p:cSldViewPr snapToGrid="0">
      <p:cViewPr>
        <p:scale>
          <a:sx n="90" d="100"/>
          <a:sy n="90" d="100"/>
        </p:scale>
        <p:origin x="-384" y="-3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handoutMaster" Target="handoutMasters/handoutMaster1.xml"/><Relationship Id="rId68" Type="http://schemas.openxmlformats.org/officeDocument/2006/relationships/theme" Target="theme/theme1.xml"/><Relationship Id="rId7" Type="http://schemas.openxmlformats.org/officeDocument/2006/relationships/slide" Target="slides/slide3.xml"/><Relationship Id="rId71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presProps" Target="pres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tags" Target="tags/tag1.xml"/><Relationship Id="rId69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viewProps" Target="view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notesMaster" Target="notesMasters/notesMaster1.xml"/><Relationship Id="rId7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9D465C9F-450E-4368-B9E6-FC3C5F484D9F}"/>
    <pc:docChg chg="modSld">
      <pc:chgData name="Thomas Stensitzki" userId="75cafe6b-2f2a-469b-85c4-eec3b9c972ba" providerId="ADAL" clId="{9D465C9F-450E-4368-B9E6-FC3C5F484D9F}" dt="2022-11-12T11:30:08.504" v="3" actId="6549"/>
      <pc:docMkLst>
        <pc:docMk/>
      </pc:docMkLst>
      <pc:sldChg chg="modSp mod">
        <pc:chgData name="Thomas Stensitzki" userId="75cafe6b-2f2a-469b-85c4-eec3b9c972ba" providerId="ADAL" clId="{9D465C9F-450E-4368-B9E6-FC3C5F484D9F}" dt="2022-11-12T11:30:08.504" v="3" actId="6549"/>
        <pc:sldMkLst>
          <pc:docMk/>
          <pc:sldMk cId="1331178014" sldId="256"/>
        </pc:sldMkLst>
        <pc:spChg chg="mod">
          <ac:chgData name="Thomas Stensitzki" userId="75cafe6b-2f2a-469b-85c4-eec3b9c972ba" providerId="ADAL" clId="{9D465C9F-450E-4368-B9E6-FC3C5F484D9F}" dt="2022-11-12T11:30:08.504" v="3" actId="6549"/>
          <ac:spMkLst>
            <pc:docMk/>
            <pc:sldMk cId="1331178014" sldId="256"/>
            <ac:spMk id="3" creationId="{FD1EE5AE-531F-46B2-BC77-BEC77D90CE70}"/>
          </ac:spMkLst>
        </pc:spChg>
      </pc:sldChg>
    </pc:docChg>
  </pc:docChgLst>
  <pc:docChgLst>
    <pc:chgData name="Thomas Stensitzki" userId="75cafe6b-2f2a-469b-85c4-eec3b9c972ba" providerId="ADAL" clId="{3E57AAA5-D64B-4EAC-BF2F-B7BF4F15838E}"/>
    <pc:docChg chg="undo custSel addSld delSld modSld sldOrd delSection modSection">
      <pc:chgData name="Thomas Stensitzki" userId="75cafe6b-2f2a-469b-85c4-eec3b9c972ba" providerId="ADAL" clId="{3E57AAA5-D64B-4EAC-BF2F-B7BF4F15838E}" dt="2020-08-23T11:52:01.861" v="3554" actId="20577"/>
      <pc:docMkLst>
        <pc:docMk/>
      </pc:docMkLst>
      <pc:sldChg chg="modSp mod modTransition modAnim">
        <pc:chgData name="Thomas Stensitzki" userId="75cafe6b-2f2a-469b-85c4-eec3b9c972ba" providerId="ADAL" clId="{3E57AAA5-D64B-4EAC-BF2F-B7BF4F15838E}" dt="2020-08-23T11:52:01.861" v="3554" actId="20577"/>
        <pc:sldMkLst>
          <pc:docMk/>
          <pc:sldMk cId="1331178014" sldId="256"/>
        </pc:sldMkLst>
        <pc:spChg chg="mod">
          <ac:chgData name="Thomas Stensitzki" userId="75cafe6b-2f2a-469b-85c4-eec3b9c972ba" providerId="ADAL" clId="{3E57AAA5-D64B-4EAC-BF2F-B7BF4F15838E}" dt="2020-08-23T11:52:01.861" v="3554" actId="20577"/>
          <ac:spMkLst>
            <pc:docMk/>
            <pc:sldMk cId="1331178014" sldId="256"/>
            <ac:spMk id="2" creationId="{E137B2CB-D047-404D-B8CC-C662AA78F69E}"/>
          </ac:spMkLst>
        </pc:spChg>
        <pc:spChg chg="mod">
          <ac:chgData name="Thomas Stensitzki" userId="75cafe6b-2f2a-469b-85c4-eec3b9c972ba" providerId="ADAL" clId="{3E57AAA5-D64B-4EAC-BF2F-B7BF4F15838E}" dt="2020-08-23T08:51:30.352" v="1" actId="6549"/>
          <ac:spMkLst>
            <pc:docMk/>
            <pc:sldMk cId="1331178014" sldId="256"/>
            <ac:spMk id="3" creationId="{FD1EE5AE-531F-46B2-BC77-BEC77D90CE70}"/>
          </ac:spMkLst>
        </pc:spChg>
      </pc:sldChg>
      <pc:sldChg chg="modSp mod modTransition">
        <pc:chgData name="Thomas Stensitzki" userId="75cafe6b-2f2a-469b-85c4-eec3b9c972ba" providerId="ADAL" clId="{3E57AAA5-D64B-4EAC-BF2F-B7BF4F15838E}" dt="2020-08-23T09:51:17.327" v="3236"/>
        <pc:sldMkLst>
          <pc:docMk/>
          <pc:sldMk cId="2213403937" sldId="259"/>
        </pc:sldMkLst>
        <pc:spChg chg="mod">
          <ac:chgData name="Thomas Stensitzki" userId="75cafe6b-2f2a-469b-85c4-eec3b9c972ba" providerId="ADAL" clId="{3E57AAA5-D64B-4EAC-BF2F-B7BF4F15838E}" dt="2020-08-23T09:42:31.928" v="2574" actId="20577"/>
          <ac:spMkLst>
            <pc:docMk/>
            <pc:sldMk cId="2213403937" sldId="259"/>
            <ac:spMk id="4" creationId="{1D2D1BF2-DBEA-44D1-B318-6E31D982F99B}"/>
          </ac:spMkLst>
        </pc:spChg>
      </pc:sldChg>
      <pc:sldChg chg="modSp mod modTransition modShow">
        <pc:chgData name="Thomas Stensitzki" userId="75cafe6b-2f2a-469b-85c4-eec3b9c972ba" providerId="ADAL" clId="{3E57AAA5-D64B-4EAC-BF2F-B7BF4F15838E}" dt="2020-08-23T11:39:13.961" v="3460" actId="729"/>
        <pc:sldMkLst>
          <pc:docMk/>
          <pc:sldMk cId="2987849416" sldId="261"/>
        </pc:sldMkLst>
        <pc:spChg chg="mod">
          <ac:chgData name="Thomas Stensitzki" userId="75cafe6b-2f2a-469b-85c4-eec3b9c972ba" providerId="ADAL" clId="{3E57AAA5-D64B-4EAC-BF2F-B7BF4F15838E}" dt="2020-08-23T09:29:35.009" v="1961" actId="20577"/>
          <ac:spMkLst>
            <pc:docMk/>
            <pc:sldMk cId="2987849416" sldId="261"/>
            <ac:spMk id="3" creationId="{00000000-0000-0000-0000-000000000000}"/>
          </ac:spMkLst>
        </pc:spChg>
      </pc:sldChg>
      <pc:sldChg chg="del">
        <pc:chgData name="Thomas Stensitzki" userId="75cafe6b-2f2a-469b-85c4-eec3b9c972ba" providerId="ADAL" clId="{3E57AAA5-D64B-4EAC-BF2F-B7BF4F15838E}" dt="2020-08-23T08:52:00.356" v="45" actId="18676"/>
        <pc:sldMkLst>
          <pc:docMk/>
          <pc:sldMk cId="2223191929" sldId="262"/>
        </pc:sldMkLst>
      </pc:sldChg>
      <pc:sldChg chg="del">
        <pc:chgData name="Thomas Stensitzki" userId="75cafe6b-2f2a-469b-85c4-eec3b9c972ba" providerId="ADAL" clId="{3E57AAA5-D64B-4EAC-BF2F-B7BF4F15838E}" dt="2020-08-23T08:51:55.010" v="44" actId="18676"/>
        <pc:sldMkLst>
          <pc:docMk/>
          <pc:sldMk cId="2891192093" sldId="264"/>
        </pc:sldMkLst>
      </pc:sldChg>
      <pc:sldChg chg="del">
        <pc:chgData name="Thomas Stensitzki" userId="75cafe6b-2f2a-469b-85c4-eec3b9c972ba" providerId="ADAL" clId="{3E57AAA5-D64B-4EAC-BF2F-B7BF4F15838E}" dt="2020-08-23T08:51:55.010" v="44" actId="18676"/>
        <pc:sldMkLst>
          <pc:docMk/>
          <pc:sldMk cId="317354845" sldId="269"/>
        </pc:sldMkLst>
      </pc:sldChg>
      <pc:sldChg chg="del">
        <pc:chgData name="Thomas Stensitzki" userId="75cafe6b-2f2a-469b-85c4-eec3b9c972ba" providerId="ADAL" clId="{3E57AAA5-D64B-4EAC-BF2F-B7BF4F15838E}" dt="2020-08-23T08:52:00.356" v="45" actId="18676"/>
        <pc:sldMkLst>
          <pc:docMk/>
          <pc:sldMk cId="443505784" sldId="270"/>
        </pc:sldMkLst>
      </pc:sldChg>
      <pc:sldChg chg="del">
        <pc:chgData name="Thomas Stensitzki" userId="75cafe6b-2f2a-469b-85c4-eec3b9c972ba" providerId="ADAL" clId="{3E57AAA5-D64B-4EAC-BF2F-B7BF4F15838E}" dt="2020-08-23T08:51:55.010" v="44" actId="18676"/>
        <pc:sldMkLst>
          <pc:docMk/>
          <pc:sldMk cId="3955647273" sldId="271"/>
        </pc:sldMkLst>
      </pc:sldChg>
      <pc:sldChg chg="del">
        <pc:chgData name="Thomas Stensitzki" userId="75cafe6b-2f2a-469b-85c4-eec3b9c972ba" providerId="ADAL" clId="{3E57AAA5-D64B-4EAC-BF2F-B7BF4F15838E}" dt="2020-08-23T08:51:55.010" v="44" actId="18676"/>
        <pc:sldMkLst>
          <pc:docMk/>
          <pc:sldMk cId="2563721883" sldId="272"/>
        </pc:sldMkLst>
      </pc:sldChg>
      <pc:sldChg chg="del">
        <pc:chgData name="Thomas Stensitzki" userId="75cafe6b-2f2a-469b-85c4-eec3b9c972ba" providerId="ADAL" clId="{3E57AAA5-D64B-4EAC-BF2F-B7BF4F15838E}" dt="2020-08-23T08:52:00.356" v="45" actId="18676"/>
        <pc:sldMkLst>
          <pc:docMk/>
          <pc:sldMk cId="2026484306" sldId="273"/>
        </pc:sldMkLst>
      </pc:sldChg>
      <pc:sldChg chg="modSp mod modTransition">
        <pc:chgData name="Thomas Stensitzki" userId="75cafe6b-2f2a-469b-85c4-eec3b9c972ba" providerId="ADAL" clId="{3E57AAA5-D64B-4EAC-BF2F-B7BF4F15838E}" dt="2020-08-23T11:51:11.094" v="3542" actId="20577"/>
        <pc:sldMkLst>
          <pc:docMk/>
          <pc:sldMk cId="1916615734" sldId="274"/>
        </pc:sldMkLst>
        <pc:spChg chg="mod">
          <ac:chgData name="Thomas Stensitzki" userId="75cafe6b-2f2a-469b-85c4-eec3b9c972ba" providerId="ADAL" clId="{3E57AAA5-D64B-4EAC-BF2F-B7BF4F15838E}" dt="2020-08-23T08:53:23.309" v="188" actId="20577"/>
          <ac:spMkLst>
            <pc:docMk/>
            <pc:sldMk cId="1916615734" sldId="274"/>
            <ac:spMk id="4" creationId="{70E8EAA7-76C4-4D2B-81CE-57CA4627D39E}"/>
          </ac:spMkLst>
        </pc:spChg>
        <pc:spChg chg="mod">
          <ac:chgData name="Thomas Stensitzki" userId="75cafe6b-2f2a-469b-85c4-eec3b9c972ba" providerId="ADAL" clId="{3E57AAA5-D64B-4EAC-BF2F-B7BF4F15838E}" dt="2020-08-23T11:51:11.094" v="3542" actId="20577"/>
          <ac:spMkLst>
            <pc:docMk/>
            <pc:sldMk cId="1916615734" sldId="274"/>
            <ac:spMk id="5" creationId="{94140262-613E-47E0-8110-F2C2EDE2EFD9}"/>
          </ac:spMkLst>
        </pc:spChg>
      </pc:sldChg>
      <pc:sldChg chg="del">
        <pc:chgData name="Thomas Stensitzki" userId="75cafe6b-2f2a-469b-85c4-eec3b9c972ba" providerId="ADAL" clId="{3E57AAA5-D64B-4EAC-BF2F-B7BF4F15838E}" dt="2020-08-23T08:51:55.010" v="44" actId="18676"/>
        <pc:sldMkLst>
          <pc:docMk/>
          <pc:sldMk cId="2524144046" sldId="275"/>
        </pc:sldMkLst>
      </pc:sldChg>
      <pc:sldChg chg="del">
        <pc:chgData name="Thomas Stensitzki" userId="75cafe6b-2f2a-469b-85c4-eec3b9c972ba" providerId="ADAL" clId="{3E57AAA5-D64B-4EAC-BF2F-B7BF4F15838E}" dt="2020-08-23T08:52:19.991" v="48" actId="47"/>
        <pc:sldMkLst>
          <pc:docMk/>
          <pc:sldMk cId="2249543844" sldId="276"/>
        </pc:sldMkLst>
      </pc:sldChg>
      <pc:sldChg chg="addSp delSp modSp new mod modTransition modClrScheme modAnim chgLayout">
        <pc:chgData name="Thomas Stensitzki" userId="75cafe6b-2f2a-469b-85c4-eec3b9c972ba" providerId="ADAL" clId="{3E57AAA5-D64B-4EAC-BF2F-B7BF4F15838E}" dt="2020-08-23T10:16:34.508" v="3451" actId="6549"/>
        <pc:sldMkLst>
          <pc:docMk/>
          <pc:sldMk cId="1471672440" sldId="277"/>
        </pc:sldMkLst>
        <pc:spChg chg="del mod ord">
          <ac:chgData name="Thomas Stensitzki" userId="75cafe6b-2f2a-469b-85c4-eec3b9c972ba" providerId="ADAL" clId="{3E57AAA5-D64B-4EAC-BF2F-B7BF4F15838E}" dt="2020-08-23T08:52:17.829" v="47" actId="700"/>
          <ac:spMkLst>
            <pc:docMk/>
            <pc:sldMk cId="1471672440" sldId="277"/>
            <ac:spMk id="2" creationId="{377EB39C-815A-47AB-89C1-9E8DD075309E}"/>
          </ac:spMkLst>
        </pc:spChg>
        <pc:spChg chg="del">
          <ac:chgData name="Thomas Stensitzki" userId="75cafe6b-2f2a-469b-85c4-eec3b9c972ba" providerId="ADAL" clId="{3E57AAA5-D64B-4EAC-BF2F-B7BF4F15838E}" dt="2020-08-23T08:52:17.829" v="47" actId="700"/>
          <ac:spMkLst>
            <pc:docMk/>
            <pc:sldMk cId="1471672440" sldId="277"/>
            <ac:spMk id="3" creationId="{1A1A9259-CB9A-434A-9EC5-F1782BFCA111}"/>
          </ac:spMkLst>
        </pc:spChg>
        <pc:spChg chg="del mod ord">
          <ac:chgData name="Thomas Stensitzki" userId="75cafe6b-2f2a-469b-85c4-eec3b9c972ba" providerId="ADAL" clId="{3E57AAA5-D64B-4EAC-BF2F-B7BF4F15838E}" dt="2020-08-23T08:52:17.829" v="47" actId="700"/>
          <ac:spMkLst>
            <pc:docMk/>
            <pc:sldMk cId="1471672440" sldId="277"/>
            <ac:spMk id="4" creationId="{4B4435A6-B5C7-4C2C-B013-564249D9C0A6}"/>
          </ac:spMkLst>
        </pc:spChg>
        <pc:spChg chg="del">
          <ac:chgData name="Thomas Stensitzki" userId="75cafe6b-2f2a-469b-85c4-eec3b9c972ba" providerId="ADAL" clId="{3E57AAA5-D64B-4EAC-BF2F-B7BF4F15838E}" dt="2020-08-23T08:52:17.829" v="47" actId="700"/>
          <ac:spMkLst>
            <pc:docMk/>
            <pc:sldMk cId="1471672440" sldId="277"/>
            <ac:spMk id="5" creationId="{8DCB5B2D-748C-402F-8682-D3268C3B0DED}"/>
          </ac:spMkLst>
        </pc:spChg>
        <pc:spChg chg="del">
          <ac:chgData name="Thomas Stensitzki" userId="75cafe6b-2f2a-469b-85c4-eec3b9c972ba" providerId="ADAL" clId="{3E57AAA5-D64B-4EAC-BF2F-B7BF4F15838E}" dt="2020-08-23T08:52:17.829" v="47" actId="700"/>
          <ac:spMkLst>
            <pc:docMk/>
            <pc:sldMk cId="1471672440" sldId="277"/>
            <ac:spMk id="6" creationId="{5F71643D-B104-4644-8531-F7F0D6706F9A}"/>
          </ac:spMkLst>
        </pc:spChg>
        <pc:spChg chg="add mod ord">
          <ac:chgData name="Thomas Stensitzki" userId="75cafe6b-2f2a-469b-85c4-eec3b9c972ba" providerId="ADAL" clId="{3E57AAA5-D64B-4EAC-BF2F-B7BF4F15838E}" dt="2020-08-23T08:56:41.078" v="327" actId="20577"/>
          <ac:spMkLst>
            <pc:docMk/>
            <pc:sldMk cId="1471672440" sldId="277"/>
            <ac:spMk id="7" creationId="{DECEB6B6-B5D5-4B5B-BBF3-49FAE1F90F1F}"/>
          </ac:spMkLst>
        </pc:spChg>
        <pc:spChg chg="add mod ord">
          <ac:chgData name="Thomas Stensitzki" userId="75cafe6b-2f2a-469b-85c4-eec3b9c972ba" providerId="ADAL" clId="{3E57AAA5-D64B-4EAC-BF2F-B7BF4F15838E}" dt="2020-08-23T10:16:34.508" v="3451" actId="6549"/>
          <ac:spMkLst>
            <pc:docMk/>
            <pc:sldMk cId="1471672440" sldId="277"/>
            <ac:spMk id="8" creationId="{B6D3E901-AF0C-4750-A333-85A65F610443}"/>
          </ac:spMkLst>
        </pc:spChg>
      </pc:sldChg>
      <pc:sldChg chg="del">
        <pc:chgData name="Thomas Stensitzki" userId="75cafe6b-2f2a-469b-85c4-eec3b9c972ba" providerId="ADAL" clId="{3E57AAA5-D64B-4EAC-BF2F-B7BF4F15838E}" dt="2020-08-23T08:52:00.356" v="45" actId="18676"/>
        <pc:sldMkLst>
          <pc:docMk/>
          <pc:sldMk cId="3573374903" sldId="277"/>
        </pc:sldMkLst>
      </pc:sldChg>
      <pc:sldChg chg="addSp delSp modSp add mod modTransition">
        <pc:chgData name="Thomas Stensitzki" userId="75cafe6b-2f2a-469b-85c4-eec3b9c972ba" providerId="ADAL" clId="{3E57AAA5-D64B-4EAC-BF2F-B7BF4F15838E}" dt="2020-08-23T11:49:47.128" v="3509" actId="20577"/>
        <pc:sldMkLst>
          <pc:docMk/>
          <pc:sldMk cId="1329302650" sldId="278"/>
        </pc:sldMkLst>
        <pc:spChg chg="add mod">
          <ac:chgData name="Thomas Stensitzki" userId="75cafe6b-2f2a-469b-85c4-eec3b9c972ba" providerId="ADAL" clId="{3E57AAA5-D64B-4EAC-BF2F-B7BF4F15838E}" dt="2020-08-23T09:31:15.123" v="1988" actId="790"/>
          <ac:spMkLst>
            <pc:docMk/>
            <pc:sldMk cId="1329302650" sldId="278"/>
            <ac:spMk id="3" creationId="{9FF1B532-569E-4D58-A230-C21BEE496E0D}"/>
          </ac:spMkLst>
        </pc:spChg>
        <pc:spChg chg="mod">
          <ac:chgData name="Thomas Stensitzki" userId="75cafe6b-2f2a-469b-85c4-eec3b9c972ba" providerId="ADAL" clId="{3E57AAA5-D64B-4EAC-BF2F-B7BF4F15838E}" dt="2020-08-23T09:13:40.810" v="872" actId="20577"/>
          <ac:spMkLst>
            <pc:docMk/>
            <pc:sldMk cId="1329302650" sldId="278"/>
            <ac:spMk id="7" creationId="{DECEB6B6-B5D5-4B5B-BBF3-49FAE1F90F1F}"/>
          </ac:spMkLst>
        </pc:spChg>
        <pc:spChg chg="del mod">
          <ac:chgData name="Thomas Stensitzki" userId="75cafe6b-2f2a-469b-85c4-eec3b9c972ba" providerId="ADAL" clId="{3E57AAA5-D64B-4EAC-BF2F-B7BF4F15838E}" dt="2020-08-23T09:13:57.340" v="875" actId="3680"/>
          <ac:spMkLst>
            <pc:docMk/>
            <pc:sldMk cId="1329302650" sldId="278"/>
            <ac:spMk id="8" creationId="{B6D3E901-AF0C-4750-A333-85A65F610443}"/>
          </ac:spMkLst>
        </pc:spChg>
        <pc:graphicFrameChg chg="add mod ord modGraphic">
          <ac:chgData name="Thomas Stensitzki" userId="75cafe6b-2f2a-469b-85c4-eec3b9c972ba" providerId="ADAL" clId="{3E57AAA5-D64B-4EAC-BF2F-B7BF4F15838E}" dt="2020-08-23T11:49:47.128" v="3509" actId="20577"/>
          <ac:graphicFrameMkLst>
            <pc:docMk/>
            <pc:sldMk cId="1329302650" sldId="278"/>
            <ac:graphicFrameMk id="2" creationId="{3BC2114B-B5DE-493A-B70F-3FAF18361F5F}"/>
          </ac:graphicFrameMkLst>
        </pc:graphicFrameChg>
      </pc:sldChg>
      <pc:sldChg chg="addSp modSp add mod modTransition modAnim">
        <pc:chgData name="Thomas Stensitzki" userId="75cafe6b-2f2a-469b-85c4-eec3b9c972ba" providerId="ADAL" clId="{3E57AAA5-D64B-4EAC-BF2F-B7BF4F15838E}" dt="2020-08-23T09:53:28.354" v="3262"/>
        <pc:sldMkLst>
          <pc:docMk/>
          <pc:sldMk cId="3866417615" sldId="279"/>
        </pc:sldMkLst>
        <pc:spChg chg="add mod">
          <ac:chgData name="Thomas Stensitzki" userId="75cafe6b-2f2a-469b-85c4-eec3b9c972ba" providerId="ADAL" clId="{3E57AAA5-D64B-4EAC-BF2F-B7BF4F15838E}" dt="2020-08-23T09:31:00.260" v="1986" actId="20577"/>
          <ac:spMkLst>
            <pc:docMk/>
            <pc:sldMk cId="3866417615" sldId="279"/>
            <ac:spMk id="2" creationId="{27F12004-A458-4D6D-B144-FCECDED3C7CA}"/>
          </ac:spMkLst>
        </pc:spChg>
        <pc:spChg chg="mod">
          <ac:chgData name="Thomas Stensitzki" userId="75cafe6b-2f2a-469b-85c4-eec3b9c972ba" providerId="ADAL" clId="{3E57AAA5-D64B-4EAC-BF2F-B7BF4F15838E}" dt="2020-08-23T09:15:29.015" v="1020" actId="20577"/>
          <ac:spMkLst>
            <pc:docMk/>
            <pc:sldMk cId="3866417615" sldId="279"/>
            <ac:spMk id="7" creationId="{DECEB6B6-B5D5-4B5B-BBF3-49FAE1F90F1F}"/>
          </ac:spMkLst>
        </pc:spChg>
        <pc:spChg chg="mod">
          <ac:chgData name="Thomas Stensitzki" userId="75cafe6b-2f2a-469b-85c4-eec3b9c972ba" providerId="ADAL" clId="{3E57AAA5-D64B-4EAC-BF2F-B7BF4F15838E}" dt="2020-08-23T09:52:45.495" v="3257" actId="113"/>
          <ac:spMkLst>
            <pc:docMk/>
            <pc:sldMk cId="3866417615" sldId="279"/>
            <ac:spMk id="8" creationId="{B6D3E901-AF0C-4750-A333-85A65F610443}"/>
          </ac:spMkLst>
        </pc:spChg>
      </pc:sldChg>
      <pc:sldChg chg="modSp new mod modTransition modAnim">
        <pc:chgData name="Thomas Stensitzki" userId="75cafe6b-2f2a-469b-85c4-eec3b9c972ba" providerId="ADAL" clId="{3E57AAA5-D64B-4EAC-BF2F-B7BF4F15838E}" dt="2020-08-23T09:54:08.478" v="3265" actId="113"/>
        <pc:sldMkLst>
          <pc:docMk/>
          <pc:sldMk cId="3696775666" sldId="280"/>
        </pc:sldMkLst>
        <pc:spChg chg="mod">
          <ac:chgData name="Thomas Stensitzki" userId="75cafe6b-2f2a-469b-85c4-eec3b9c972ba" providerId="ADAL" clId="{3E57AAA5-D64B-4EAC-BF2F-B7BF4F15838E}" dt="2020-08-23T09:21:16.329" v="1363" actId="20577"/>
          <ac:spMkLst>
            <pc:docMk/>
            <pc:sldMk cId="3696775666" sldId="280"/>
            <ac:spMk id="2" creationId="{E3AEE11F-D5B8-4287-A832-1B1CF5C8D00B}"/>
          </ac:spMkLst>
        </pc:spChg>
        <pc:spChg chg="mod">
          <ac:chgData name="Thomas Stensitzki" userId="75cafe6b-2f2a-469b-85c4-eec3b9c972ba" providerId="ADAL" clId="{3E57AAA5-D64B-4EAC-BF2F-B7BF4F15838E}" dt="2020-08-23T09:54:08.478" v="3265" actId="113"/>
          <ac:spMkLst>
            <pc:docMk/>
            <pc:sldMk cId="3696775666" sldId="280"/>
            <ac:spMk id="3" creationId="{C4B9D77A-7166-461B-B128-FCCEE5CDD173}"/>
          </ac:spMkLst>
        </pc:spChg>
      </pc:sldChg>
      <pc:sldChg chg="modSp add mod modTransition modAnim">
        <pc:chgData name="Thomas Stensitzki" userId="75cafe6b-2f2a-469b-85c4-eec3b9c972ba" providerId="ADAL" clId="{3E57AAA5-D64B-4EAC-BF2F-B7BF4F15838E}" dt="2020-08-23T09:55:25.710" v="3272"/>
        <pc:sldMkLst>
          <pc:docMk/>
          <pc:sldMk cId="3784654355" sldId="281"/>
        </pc:sldMkLst>
        <pc:spChg chg="mod">
          <ac:chgData name="Thomas Stensitzki" userId="75cafe6b-2f2a-469b-85c4-eec3b9c972ba" providerId="ADAL" clId="{3E57AAA5-D64B-4EAC-BF2F-B7BF4F15838E}" dt="2020-08-23T09:38:20.252" v="2440" actId="20577"/>
          <ac:spMkLst>
            <pc:docMk/>
            <pc:sldMk cId="3784654355" sldId="281"/>
            <ac:spMk id="2" creationId="{E3AEE11F-D5B8-4287-A832-1B1CF5C8D00B}"/>
          </ac:spMkLst>
        </pc:spChg>
        <pc:spChg chg="mod">
          <ac:chgData name="Thomas Stensitzki" userId="75cafe6b-2f2a-469b-85c4-eec3b9c972ba" providerId="ADAL" clId="{3E57AAA5-D64B-4EAC-BF2F-B7BF4F15838E}" dt="2020-08-23T09:51:08.527" v="3235" actId="6549"/>
          <ac:spMkLst>
            <pc:docMk/>
            <pc:sldMk cId="3784654355" sldId="281"/>
            <ac:spMk id="3" creationId="{C4B9D77A-7166-461B-B128-FCCEE5CDD173}"/>
          </ac:spMkLst>
        </pc:spChg>
      </pc:sldChg>
      <pc:sldChg chg="modSp add mod ord modTransition modAnim">
        <pc:chgData name="Thomas Stensitzki" userId="75cafe6b-2f2a-469b-85c4-eec3b9c972ba" providerId="ADAL" clId="{3E57AAA5-D64B-4EAC-BF2F-B7BF4F15838E}" dt="2020-08-23T10:22:04.434" v="3458" actId="20577"/>
        <pc:sldMkLst>
          <pc:docMk/>
          <pc:sldMk cId="2972798004" sldId="282"/>
        </pc:sldMkLst>
        <pc:spChg chg="mod">
          <ac:chgData name="Thomas Stensitzki" userId="75cafe6b-2f2a-469b-85c4-eec3b9c972ba" providerId="ADAL" clId="{3E57AAA5-D64B-4EAC-BF2F-B7BF4F15838E}" dt="2020-08-23T10:22:04.434" v="3458" actId="20577"/>
          <ac:spMkLst>
            <pc:docMk/>
            <pc:sldMk cId="2972798004" sldId="282"/>
            <ac:spMk id="2" creationId="{E3AEE11F-D5B8-4287-A832-1B1CF5C8D00B}"/>
          </ac:spMkLst>
        </pc:spChg>
        <pc:spChg chg="mod">
          <ac:chgData name="Thomas Stensitzki" userId="75cafe6b-2f2a-469b-85c4-eec3b9c972ba" providerId="ADAL" clId="{3E57AAA5-D64B-4EAC-BF2F-B7BF4F15838E}" dt="2020-08-23T09:50:41.320" v="3218" actId="20577"/>
          <ac:spMkLst>
            <pc:docMk/>
            <pc:sldMk cId="2972798004" sldId="282"/>
            <ac:spMk id="3" creationId="{C4B9D77A-7166-461B-B128-FCCEE5CDD173}"/>
          </ac:spMkLst>
        </pc:spChg>
      </pc:sldChg>
    </pc:docChg>
  </pc:docChgLst>
  <pc:docChgLst>
    <pc:chgData name="Thomas Stensitzki" userId="75cafe6b-2f2a-469b-85c4-eec3b9c972ba" providerId="ADAL" clId="{8FC5A0C4-EA05-4450-996A-882D79C2AD85}"/>
    <pc:docChg chg="undo custSel addSld delSld modSld sldOrd modSection">
      <pc:chgData name="Thomas Stensitzki" userId="75cafe6b-2f2a-469b-85c4-eec3b9c972ba" providerId="ADAL" clId="{8FC5A0C4-EA05-4450-996A-882D79C2AD85}" dt="2022-05-28T13:05:56.005" v="2747" actId="47"/>
      <pc:docMkLst>
        <pc:docMk/>
      </pc:docMkLst>
      <pc:sldChg chg="modSp mod modAnim">
        <pc:chgData name="Thomas Stensitzki" userId="75cafe6b-2f2a-469b-85c4-eec3b9c972ba" providerId="ADAL" clId="{8FC5A0C4-EA05-4450-996A-882D79C2AD85}" dt="2022-05-28T13:00:23.734" v="2561"/>
        <pc:sldMkLst>
          <pc:docMk/>
          <pc:sldMk cId="1331178014" sldId="256"/>
        </pc:sldMkLst>
        <pc:spChg chg="mod">
          <ac:chgData name="Thomas Stensitzki" userId="75cafe6b-2f2a-469b-85c4-eec3b9c972ba" providerId="ADAL" clId="{8FC5A0C4-EA05-4450-996A-882D79C2AD85}" dt="2022-05-26T09:30:21.765" v="2"/>
          <ac:spMkLst>
            <pc:docMk/>
            <pc:sldMk cId="1331178014" sldId="256"/>
            <ac:spMk id="2" creationId="{E137B2CB-D047-404D-B8CC-C662AA78F69E}"/>
          </ac:spMkLst>
        </pc:spChg>
        <pc:spChg chg="mod">
          <ac:chgData name="Thomas Stensitzki" userId="75cafe6b-2f2a-469b-85c4-eec3b9c972ba" providerId="ADAL" clId="{8FC5A0C4-EA05-4450-996A-882D79C2AD85}" dt="2022-05-26T09:30:17.698" v="1" actId="20577"/>
          <ac:spMkLst>
            <pc:docMk/>
            <pc:sldMk cId="1331178014" sldId="256"/>
            <ac:spMk id="3" creationId="{FD1EE5AE-531F-46B2-BC77-BEC77D90CE70}"/>
          </ac:spMkLst>
        </pc:spChg>
      </pc:sldChg>
      <pc:sldChg chg="modSp mod">
        <pc:chgData name="Thomas Stensitzki" userId="75cafe6b-2f2a-469b-85c4-eec3b9c972ba" providerId="ADAL" clId="{8FC5A0C4-EA05-4450-996A-882D79C2AD85}" dt="2022-05-26T10:45:13.905" v="30" actId="6549"/>
        <pc:sldMkLst>
          <pc:docMk/>
          <pc:sldMk cId="1916615734" sldId="274"/>
        </pc:sldMkLst>
        <pc:spChg chg="mod">
          <ac:chgData name="Thomas Stensitzki" userId="75cafe6b-2f2a-469b-85c4-eec3b9c972ba" providerId="ADAL" clId="{8FC5A0C4-EA05-4450-996A-882D79C2AD85}" dt="2022-05-26T10:44:56.933" v="29" actId="20577"/>
          <ac:spMkLst>
            <pc:docMk/>
            <pc:sldMk cId="1916615734" sldId="274"/>
            <ac:spMk id="4" creationId="{70E8EAA7-76C4-4D2B-81CE-57CA4627D39E}"/>
          </ac:spMkLst>
        </pc:spChg>
        <pc:spChg chg="mod">
          <ac:chgData name="Thomas Stensitzki" userId="75cafe6b-2f2a-469b-85c4-eec3b9c972ba" providerId="ADAL" clId="{8FC5A0C4-EA05-4450-996A-882D79C2AD85}" dt="2022-05-26T10:45:13.905" v="30" actId="6549"/>
          <ac:spMkLst>
            <pc:docMk/>
            <pc:sldMk cId="1916615734" sldId="274"/>
            <ac:spMk id="5" creationId="{94140262-613E-47E0-8110-F2C2EDE2EFD9}"/>
          </ac:spMkLst>
        </pc:spChg>
      </pc:sldChg>
      <pc:sldChg chg="del">
        <pc:chgData name="Thomas Stensitzki" userId="75cafe6b-2f2a-469b-85c4-eec3b9c972ba" providerId="ADAL" clId="{8FC5A0C4-EA05-4450-996A-882D79C2AD85}" dt="2022-05-28T11:51:57.131" v="550" actId="47"/>
        <pc:sldMkLst>
          <pc:docMk/>
          <pc:sldMk cId="3443800143" sldId="285"/>
        </pc:sldMkLst>
      </pc:sldChg>
      <pc:sldChg chg="del">
        <pc:chgData name="Thomas Stensitzki" userId="75cafe6b-2f2a-469b-85c4-eec3b9c972ba" providerId="ADAL" clId="{8FC5A0C4-EA05-4450-996A-882D79C2AD85}" dt="2022-05-28T12:26:25.584" v="2543" actId="47"/>
        <pc:sldMkLst>
          <pc:docMk/>
          <pc:sldMk cId="2141693400" sldId="286"/>
        </pc:sldMkLst>
      </pc:sldChg>
      <pc:sldChg chg="del">
        <pc:chgData name="Thomas Stensitzki" userId="75cafe6b-2f2a-469b-85c4-eec3b9c972ba" providerId="ADAL" clId="{8FC5A0C4-EA05-4450-996A-882D79C2AD85}" dt="2022-05-28T12:21:21.875" v="2288" actId="47"/>
        <pc:sldMkLst>
          <pc:docMk/>
          <pc:sldMk cId="3403718045" sldId="288"/>
        </pc:sldMkLst>
      </pc:sldChg>
      <pc:sldChg chg="del">
        <pc:chgData name="Thomas Stensitzki" userId="75cafe6b-2f2a-469b-85c4-eec3b9c972ba" providerId="ADAL" clId="{8FC5A0C4-EA05-4450-996A-882D79C2AD85}" dt="2022-05-26T10:45:33.787" v="31" actId="47"/>
        <pc:sldMkLst>
          <pc:docMk/>
          <pc:sldMk cId="1983662873" sldId="289"/>
        </pc:sldMkLst>
      </pc:sldChg>
      <pc:sldChg chg="addSp delSp modSp new mod modClrScheme modAnim chgLayout">
        <pc:chgData name="Thomas Stensitzki" userId="75cafe6b-2f2a-469b-85c4-eec3b9c972ba" providerId="ADAL" clId="{8FC5A0C4-EA05-4450-996A-882D79C2AD85}" dt="2022-05-28T12:27:00.188" v="2550" actId="6549"/>
        <pc:sldMkLst>
          <pc:docMk/>
          <pc:sldMk cId="3683526589" sldId="289"/>
        </pc:sldMkLst>
        <pc:spChg chg="del mod ord">
          <ac:chgData name="Thomas Stensitzki" userId="75cafe6b-2f2a-469b-85c4-eec3b9c972ba" providerId="ADAL" clId="{8FC5A0C4-EA05-4450-996A-882D79C2AD85}" dt="2022-05-28T11:45:58.788" v="33" actId="700"/>
          <ac:spMkLst>
            <pc:docMk/>
            <pc:sldMk cId="3683526589" sldId="289"/>
            <ac:spMk id="2" creationId="{802B9FD3-ABD2-4D01-82B8-0D8C18E67596}"/>
          </ac:spMkLst>
        </pc:spChg>
        <pc:spChg chg="del mod ord">
          <ac:chgData name="Thomas Stensitzki" userId="75cafe6b-2f2a-469b-85c4-eec3b9c972ba" providerId="ADAL" clId="{8FC5A0C4-EA05-4450-996A-882D79C2AD85}" dt="2022-05-28T11:45:58.788" v="33" actId="700"/>
          <ac:spMkLst>
            <pc:docMk/>
            <pc:sldMk cId="3683526589" sldId="289"/>
            <ac:spMk id="3" creationId="{40E55CC5-AA69-4534-B97A-A5E8A954F584}"/>
          </ac:spMkLst>
        </pc:spChg>
        <pc:spChg chg="add mod ord">
          <ac:chgData name="Thomas Stensitzki" userId="75cafe6b-2f2a-469b-85c4-eec3b9c972ba" providerId="ADAL" clId="{8FC5A0C4-EA05-4450-996A-882D79C2AD85}" dt="2022-05-28T11:46:09.440" v="59" actId="20577"/>
          <ac:spMkLst>
            <pc:docMk/>
            <pc:sldMk cId="3683526589" sldId="289"/>
            <ac:spMk id="4" creationId="{3B0F36BD-82D1-4B5F-9500-391DE0918C8C}"/>
          </ac:spMkLst>
        </pc:spChg>
        <pc:spChg chg="add mod ord">
          <ac:chgData name="Thomas Stensitzki" userId="75cafe6b-2f2a-469b-85c4-eec3b9c972ba" providerId="ADAL" clId="{8FC5A0C4-EA05-4450-996A-882D79C2AD85}" dt="2022-05-28T12:27:00.188" v="2550" actId="6549"/>
          <ac:spMkLst>
            <pc:docMk/>
            <pc:sldMk cId="3683526589" sldId="289"/>
            <ac:spMk id="5" creationId="{33FEEF1C-5D0F-4F05-8367-A0031B650FDD}"/>
          </ac:spMkLst>
        </pc:spChg>
      </pc:sldChg>
      <pc:sldChg chg="addSp delSp modSp new mod modClrScheme modShow chgLayout">
        <pc:chgData name="Thomas Stensitzki" userId="75cafe6b-2f2a-469b-85c4-eec3b9c972ba" providerId="ADAL" clId="{8FC5A0C4-EA05-4450-996A-882D79C2AD85}" dt="2022-05-28T12:43:48.073" v="2558" actId="729"/>
        <pc:sldMkLst>
          <pc:docMk/>
          <pc:sldMk cId="149670013" sldId="290"/>
        </pc:sldMkLst>
        <pc:spChg chg="del mod ord">
          <ac:chgData name="Thomas Stensitzki" userId="75cafe6b-2f2a-469b-85c4-eec3b9c972ba" providerId="ADAL" clId="{8FC5A0C4-EA05-4450-996A-882D79C2AD85}" dt="2022-05-28T11:47:42.566" v="245" actId="700"/>
          <ac:spMkLst>
            <pc:docMk/>
            <pc:sldMk cId="149670013" sldId="290"/>
            <ac:spMk id="2" creationId="{04788317-41E1-448B-BB0B-3233CC41AE33}"/>
          </ac:spMkLst>
        </pc:spChg>
        <pc:spChg chg="del mod ord">
          <ac:chgData name="Thomas Stensitzki" userId="75cafe6b-2f2a-469b-85c4-eec3b9c972ba" providerId="ADAL" clId="{8FC5A0C4-EA05-4450-996A-882D79C2AD85}" dt="2022-05-28T11:47:42.566" v="245" actId="700"/>
          <ac:spMkLst>
            <pc:docMk/>
            <pc:sldMk cId="149670013" sldId="290"/>
            <ac:spMk id="3" creationId="{22AD7A6A-415A-43B7-849D-E2EE81D3E9BF}"/>
          </ac:spMkLst>
        </pc:spChg>
        <pc:spChg chg="add mod ord">
          <ac:chgData name="Thomas Stensitzki" userId="75cafe6b-2f2a-469b-85c4-eec3b9c972ba" providerId="ADAL" clId="{8FC5A0C4-EA05-4450-996A-882D79C2AD85}" dt="2022-05-28T11:47:45.582" v="255" actId="20577"/>
          <ac:spMkLst>
            <pc:docMk/>
            <pc:sldMk cId="149670013" sldId="290"/>
            <ac:spMk id="4" creationId="{3918E863-E449-4E9B-96FD-3DE4E211DA4E}"/>
          </ac:spMkLst>
        </pc:spChg>
        <pc:spChg chg="add mod ord">
          <ac:chgData name="Thomas Stensitzki" userId="75cafe6b-2f2a-469b-85c4-eec3b9c972ba" providerId="ADAL" clId="{8FC5A0C4-EA05-4450-996A-882D79C2AD85}" dt="2022-05-28T12:24:22.747" v="2411"/>
          <ac:spMkLst>
            <pc:docMk/>
            <pc:sldMk cId="149670013" sldId="290"/>
            <ac:spMk id="5" creationId="{D0C5CA75-F50B-4E59-BA26-D97E0360F1CB}"/>
          </ac:spMkLst>
        </pc:spChg>
      </pc:sldChg>
      <pc:sldChg chg="del">
        <pc:chgData name="Thomas Stensitzki" userId="75cafe6b-2f2a-469b-85c4-eec3b9c972ba" providerId="ADAL" clId="{8FC5A0C4-EA05-4450-996A-882D79C2AD85}" dt="2022-05-26T10:45:33.787" v="31" actId="47"/>
        <pc:sldMkLst>
          <pc:docMk/>
          <pc:sldMk cId="3698748092" sldId="290"/>
        </pc:sldMkLst>
      </pc:sldChg>
      <pc:sldChg chg="modSp new mod modAnim">
        <pc:chgData name="Thomas Stensitzki" userId="75cafe6b-2f2a-469b-85c4-eec3b9c972ba" providerId="ADAL" clId="{8FC5A0C4-EA05-4450-996A-882D79C2AD85}" dt="2022-05-28T12:27:30.669" v="2556" actId="20577"/>
        <pc:sldMkLst>
          <pc:docMk/>
          <pc:sldMk cId="366543129" sldId="291"/>
        </pc:sldMkLst>
        <pc:spChg chg="mod">
          <ac:chgData name="Thomas Stensitzki" userId="75cafe6b-2f2a-469b-85c4-eec3b9c972ba" providerId="ADAL" clId="{8FC5A0C4-EA05-4450-996A-882D79C2AD85}" dt="2022-05-28T11:52:19.056" v="608" actId="20577"/>
          <ac:spMkLst>
            <pc:docMk/>
            <pc:sldMk cId="366543129" sldId="291"/>
            <ac:spMk id="2" creationId="{93C8A290-10CA-43D3-8C23-05CF76342DA2}"/>
          </ac:spMkLst>
        </pc:spChg>
        <pc:spChg chg="mod">
          <ac:chgData name="Thomas Stensitzki" userId="75cafe6b-2f2a-469b-85c4-eec3b9c972ba" providerId="ADAL" clId="{8FC5A0C4-EA05-4450-996A-882D79C2AD85}" dt="2022-05-28T12:27:30.669" v="2556" actId="20577"/>
          <ac:spMkLst>
            <pc:docMk/>
            <pc:sldMk cId="366543129" sldId="291"/>
            <ac:spMk id="3" creationId="{BB3D49B9-1BC9-4D3F-A3D4-46A796E020AE}"/>
          </ac:spMkLst>
        </pc:spChg>
      </pc:sldChg>
      <pc:sldChg chg="del">
        <pc:chgData name="Thomas Stensitzki" userId="75cafe6b-2f2a-469b-85c4-eec3b9c972ba" providerId="ADAL" clId="{8FC5A0C4-EA05-4450-996A-882D79C2AD85}" dt="2022-05-26T10:45:33.787" v="31" actId="47"/>
        <pc:sldMkLst>
          <pc:docMk/>
          <pc:sldMk cId="4169728057" sldId="291"/>
        </pc:sldMkLst>
      </pc:sldChg>
      <pc:sldChg chg="del">
        <pc:chgData name="Thomas Stensitzki" userId="75cafe6b-2f2a-469b-85c4-eec3b9c972ba" providerId="ADAL" clId="{8FC5A0C4-EA05-4450-996A-882D79C2AD85}" dt="2022-05-26T10:45:33.787" v="31" actId="47"/>
        <pc:sldMkLst>
          <pc:docMk/>
          <pc:sldMk cId="1236522291" sldId="292"/>
        </pc:sldMkLst>
      </pc:sldChg>
      <pc:sldChg chg="modSp add modAnim">
        <pc:chgData name="Thomas Stensitzki" userId="75cafe6b-2f2a-469b-85c4-eec3b9c972ba" providerId="ADAL" clId="{8FC5A0C4-EA05-4450-996A-882D79C2AD85}" dt="2022-05-28T12:43:54.252" v="2559" actId="113"/>
        <pc:sldMkLst>
          <pc:docMk/>
          <pc:sldMk cId="4227882706" sldId="292"/>
        </pc:sldMkLst>
        <pc:spChg chg="mod">
          <ac:chgData name="Thomas Stensitzki" userId="75cafe6b-2f2a-469b-85c4-eec3b9c972ba" providerId="ADAL" clId="{8FC5A0C4-EA05-4450-996A-882D79C2AD85}" dt="2022-05-28T12:43:54.252" v="2559" actId="113"/>
          <ac:spMkLst>
            <pc:docMk/>
            <pc:sldMk cId="4227882706" sldId="292"/>
            <ac:spMk id="3" creationId="{BB3D49B9-1BC9-4D3F-A3D4-46A796E020AE}"/>
          </ac:spMkLst>
        </pc:spChg>
      </pc:sldChg>
      <pc:sldChg chg="addSp delSp modSp new mod modClrScheme modAnim chgLayout">
        <pc:chgData name="Thomas Stensitzki" userId="75cafe6b-2f2a-469b-85c4-eec3b9c972ba" providerId="ADAL" clId="{8FC5A0C4-EA05-4450-996A-882D79C2AD85}" dt="2022-05-28T12:08:37.626" v="1516"/>
        <pc:sldMkLst>
          <pc:docMk/>
          <pc:sldMk cId="835889398" sldId="293"/>
        </pc:sldMkLst>
        <pc:spChg chg="del mod ord">
          <ac:chgData name="Thomas Stensitzki" userId="75cafe6b-2f2a-469b-85c4-eec3b9c972ba" providerId="ADAL" clId="{8FC5A0C4-EA05-4450-996A-882D79C2AD85}" dt="2022-05-28T12:02:08.509" v="1435" actId="700"/>
          <ac:spMkLst>
            <pc:docMk/>
            <pc:sldMk cId="835889398" sldId="293"/>
            <ac:spMk id="2" creationId="{0FEEA529-8404-4B59-969F-309B9FFE1207}"/>
          </ac:spMkLst>
        </pc:spChg>
        <pc:spChg chg="del">
          <ac:chgData name="Thomas Stensitzki" userId="75cafe6b-2f2a-469b-85c4-eec3b9c972ba" providerId="ADAL" clId="{8FC5A0C4-EA05-4450-996A-882D79C2AD85}" dt="2022-05-28T12:02:08.509" v="1435" actId="700"/>
          <ac:spMkLst>
            <pc:docMk/>
            <pc:sldMk cId="835889398" sldId="293"/>
            <ac:spMk id="3" creationId="{31A4B91D-72E4-428D-9F38-76736BCEFA91}"/>
          </ac:spMkLst>
        </pc:spChg>
        <pc:spChg chg="add mod ord">
          <ac:chgData name="Thomas Stensitzki" userId="75cafe6b-2f2a-469b-85c4-eec3b9c972ba" providerId="ADAL" clId="{8FC5A0C4-EA05-4450-996A-882D79C2AD85}" dt="2022-05-28T12:02:18.600" v="1458" actId="313"/>
          <ac:spMkLst>
            <pc:docMk/>
            <pc:sldMk cId="835889398" sldId="293"/>
            <ac:spMk id="4" creationId="{87C27650-CCEB-4A9D-8889-5CC6213959A9}"/>
          </ac:spMkLst>
        </pc:spChg>
        <pc:picChg chg="add mod ord">
          <ac:chgData name="Thomas Stensitzki" userId="75cafe6b-2f2a-469b-85c4-eec3b9c972ba" providerId="ADAL" clId="{8FC5A0C4-EA05-4450-996A-882D79C2AD85}" dt="2022-05-28T12:08:21.031" v="1513" actId="1076"/>
          <ac:picMkLst>
            <pc:docMk/>
            <pc:sldMk cId="835889398" sldId="293"/>
            <ac:picMk id="6" creationId="{77FD13C0-EC7D-436E-BA49-2EF400CBB826}"/>
          </ac:picMkLst>
        </pc:picChg>
        <pc:picChg chg="add del mod">
          <ac:chgData name="Thomas Stensitzki" userId="75cafe6b-2f2a-469b-85c4-eec3b9c972ba" providerId="ADAL" clId="{8FC5A0C4-EA05-4450-996A-882D79C2AD85}" dt="2022-05-28T12:05:49.924" v="1468" actId="22"/>
          <ac:picMkLst>
            <pc:docMk/>
            <pc:sldMk cId="835889398" sldId="293"/>
            <ac:picMk id="8" creationId="{6FCF8B98-15E5-4605-A599-55E83DD0E8BD}"/>
          </ac:picMkLst>
        </pc:picChg>
        <pc:picChg chg="add del mod">
          <ac:chgData name="Thomas Stensitzki" userId="75cafe6b-2f2a-469b-85c4-eec3b9c972ba" providerId="ADAL" clId="{8FC5A0C4-EA05-4450-996A-882D79C2AD85}" dt="2022-05-28T12:07:15.169" v="1508" actId="478"/>
          <ac:picMkLst>
            <pc:docMk/>
            <pc:sldMk cId="835889398" sldId="293"/>
            <ac:picMk id="10" creationId="{FF1CDDEB-665A-4DD1-AA1D-921B9E5D0D5D}"/>
          </ac:picMkLst>
        </pc:picChg>
        <pc:picChg chg="add mod">
          <ac:chgData name="Thomas Stensitzki" userId="75cafe6b-2f2a-469b-85c4-eec3b9c972ba" providerId="ADAL" clId="{8FC5A0C4-EA05-4450-996A-882D79C2AD85}" dt="2022-05-28T12:08:14.923" v="1511" actId="1440"/>
          <ac:picMkLst>
            <pc:docMk/>
            <pc:sldMk cId="835889398" sldId="293"/>
            <ac:picMk id="12" creationId="{EAABFA47-82BB-4E9A-84C9-01E478E0E4F9}"/>
          </ac:picMkLst>
        </pc:picChg>
      </pc:sldChg>
      <pc:sldChg chg="delSp modSp add mod ord">
        <pc:chgData name="Thomas Stensitzki" userId="75cafe6b-2f2a-469b-85c4-eec3b9c972ba" providerId="ADAL" clId="{8FC5A0C4-EA05-4450-996A-882D79C2AD85}" dt="2022-05-28T12:07:12.257" v="1507"/>
        <pc:sldMkLst>
          <pc:docMk/>
          <pc:sldMk cId="404821504" sldId="294"/>
        </pc:sldMkLst>
        <pc:spChg chg="mod">
          <ac:chgData name="Thomas Stensitzki" userId="75cafe6b-2f2a-469b-85c4-eec3b9c972ba" providerId="ADAL" clId="{8FC5A0C4-EA05-4450-996A-882D79C2AD85}" dt="2022-05-28T12:07:02.165" v="1505" actId="6549"/>
          <ac:spMkLst>
            <pc:docMk/>
            <pc:sldMk cId="404821504" sldId="294"/>
            <ac:spMk id="4" creationId="{87C27650-CCEB-4A9D-8889-5CC6213959A9}"/>
          </ac:spMkLst>
        </pc:spChg>
        <pc:picChg chg="del">
          <ac:chgData name="Thomas Stensitzki" userId="75cafe6b-2f2a-469b-85c4-eec3b9c972ba" providerId="ADAL" clId="{8FC5A0C4-EA05-4450-996A-882D79C2AD85}" dt="2022-05-28T12:06:20.817" v="1474" actId="478"/>
          <ac:picMkLst>
            <pc:docMk/>
            <pc:sldMk cId="404821504" sldId="294"/>
            <ac:picMk id="6" creationId="{77FD13C0-EC7D-436E-BA49-2EF400CBB826}"/>
          </ac:picMkLst>
        </pc:picChg>
        <pc:picChg chg="mod">
          <ac:chgData name="Thomas Stensitzki" userId="75cafe6b-2f2a-469b-85c4-eec3b9c972ba" providerId="ADAL" clId="{8FC5A0C4-EA05-4450-996A-882D79C2AD85}" dt="2022-05-28T12:06:31.407" v="1476" actId="1440"/>
          <ac:picMkLst>
            <pc:docMk/>
            <pc:sldMk cId="404821504" sldId="294"/>
            <ac:picMk id="10" creationId="{FF1CDDEB-665A-4DD1-AA1D-921B9E5D0D5D}"/>
          </ac:picMkLst>
        </pc:picChg>
      </pc:sldChg>
      <pc:sldChg chg="modSp add mod ord modAnim">
        <pc:chgData name="Thomas Stensitzki" userId="75cafe6b-2f2a-469b-85c4-eec3b9c972ba" providerId="ADAL" clId="{8FC5A0C4-EA05-4450-996A-882D79C2AD85}" dt="2022-05-28T12:26:14.534" v="2542" actId="20577"/>
        <pc:sldMkLst>
          <pc:docMk/>
          <pc:sldMk cId="3977601806" sldId="295"/>
        </pc:sldMkLst>
        <pc:spChg chg="mod">
          <ac:chgData name="Thomas Stensitzki" userId="75cafe6b-2f2a-469b-85c4-eec3b9c972ba" providerId="ADAL" clId="{8FC5A0C4-EA05-4450-996A-882D79C2AD85}" dt="2022-05-28T12:23:35.215" v="2361" actId="20577"/>
          <ac:spMkLst>
            <pc:docMk/>
            <pc:sldMk cId="3977601806" sldId="295"/>
            <ac:spMk id="2" creationId="{93C8A290-10CA-43D3-8C23-05CF76342DA2}"/>
          </ac:spMkLst>
        </pc:spChg>
        <pc:spChg chg="mod">
          <ac:chgData name="Thomas Stensitzki" userId="75cafe6b-2f2a-469b-85c4-eec3b9c972ba" providerId="ADAL" clId="{8FC5A0C4-EA05-4450-996A-882D79C2AD85}" dt="2022-05-28T12:26:14.534" v="2542" actId="20577"/>
          <ac:spMkLst>
            <pc:docMk/>
            <pc:sldMk cId="3977601806" sldId="295"/>
            <ac:spMk id="3" creationId="{BB3D49B9-1BC9-4D3F-A3D4-46A796E020AE}"/>
          </ac:spMkLst>
        </pc:spChg>
      </pc:sldChg>
      <pc:sldChg chg="new del">
        <pc:chgData name="Thomas Stensitzki" userId="75cafe6b-2f2a-469b-85c4-eec3b9c972ba" providerId="ADAL" clId="{8FC5A0C4-EA05-4450-996A-882D79C2AD85}" dt="2022-05-28T13:04:07.474" v="2563" actId="2696"/>
        <pc:sldMkLst>
          <pc:docMk/>
          <pc:sldMk cId="1592960181" sldId="296"/>
        </pc:sldMkLst>
      </pc:sldChg>
      <pc:sldChg chg="delSp modSp add del mod">
        <pc:chgData name="Thomas Stensitzki" userId="75cafe6b-2f2a-469b-85c4-eec3b9c972ba" providerId="ADAL" clId="{8FC5A0C4-EA05-4450-996A-882D79C2AD85}" dt="2022-05-28T13:05:56.005" v="2747" actId="47"/>
        <pc:sldMkLst>
          <pc:docMk/>
          <pc:sldMk cId="3916321605" sldId="296"/>
        </pc:sldMkLst>
        <pc:spChg chg="del">
          <ac:chgData name="Thomas Stensitzki" userId="75cafe6b-2f2a-469b-85c4-eec3b9c972ba" providerId="ADAL" clId="{8FC5A0C4-EA05-4450-996A-882D79C2AD85}" dt="2022-05-28T13:04:13.815" v="2565" actId="478"/>
          <ac:spMkLst>
            <pc:docMk/>
            <pc:sldMk cId="3916321605" sldId="296"/>
            <ac:spMk id="3" creationId="{929F043B-C787-47A9-8373-4D8587EE4FEA}"/>
          </ac:spMkLst>
        </pc:spChg>
        <pc:spChg chg="mod">
          <ac:chgData name="Thomas Stensitzki" userId="75cafe6b-2f2a-469b-85c4-eec3b9c972ba" providerId="ADAL" clId="{8FC5A0C4-EA05-4450-996A-882D79C2AD85}" dt="2022-05-28T13:05:32.618" v="2746" actId="6549"/>
          <ac:spMkLst>
            <pc:docMk/>
            <pc:sldMk cId="3916321605" sldId="296"/>
            <ac:spMk id="4" creationId="{1D2D1BF2-DBEA-44D1-B318-6E31D982F99B}"/>
          </ac:spMkLst>
        </pc:spChg>
        <pc:picChg chg="del">
          <ac:chgData name="Thomas Stensitzki" userId="75cafe6b-2f2a-469b-85c4-eec3b9c972ba" providerId="ADAL" clId="{8FC5A0C4-EA05-4450-996A-882D79C2AD85}" dt="2022-05-28T13:04:14.835" v="2566" actId="478"/>
          <ac:picMkLst>
            <pc:docMk/>
            <pc:sldMk cId="3916321605" sldId="296"/>
            <ac:picMk id="5" creationId="{004ACF09-AB06-4467-90D9-731D6CFF0636}"/>
          </ac:picMkLst>
        </pc:picChg>
      </pc:sldChg>
    </pc:docChg>
  </pc:docChgLst>
  <pc:docChgLst>
    <pc:chgData name="Thomas Stensitzki" userId="75cafe6b-2f2a-469b-85c4-eec3b9c972ba" providerId="ADAL" clId="{272D8E9C-1512-4CFD-834F-1FB8777CA41C}"/>
    <pc:docChg chg="custSel modSld">
      <pc:chgData name="Thomas Stensitzki" userId="75cafe6b-2f2a-469b-85c4-eec3b9c972ba" providerId="ADAL" clId="{272D8E9C-1512-4CFD-834F-1FB8777CA41C}" dt="2021-04-18T10:19:14.848" v="11" actId="20577"/>
      <pc:docMkLst>
        <pc:docMk/>
      </pc:docMkLst>
      <pc:sldChg chg="modSp mod">
        <pc:chgData name="Thomas Stensitzki" userId="75cafe6b-2f2a-469b-85c4-eec3b9c972ba" providerId="ADAL" clId="{272D8E9C-1512-4CFD-834F-1FB8777CA41C}" dt="2021-04-18T10:19:14.848" v="11" actId="20577"/>
        <pc:sldMkLst>
          <pc:docMk/>
          <pc:sldMk cId="1331178014" sldId="256"/>
        </pc:sldMkLst>
        <pc:spChg chg="mod">
          <ac:chgData name="Thomas Stensitzki" userId="75cafe6b-2f2a-469b-85c4-eec3b9c972ba" providerId="ADAL" clId="{272D8E9C-1512-4CFD-834F-1FB8777CA41C}" dt="2021-04-18T10:19:11.761" v="9" actId="27636"/>
          <ac:spMkLst>
            <pc:docMk/>
            <pc:sldMk cId="1331178014" sldId="256"/>
            <ac:spMk id="2" creationId="{E137B2CB-D047-404D-B8CC-C662AA78F69E}"/>
          </ac:spMkLst>
        </pc:spChg>
        <pc:spChg chg="mod">
          <ac:chgData name="Thomas Stensitzki" userId="75cafe6b-2f2a-469b-85c4-eec3b9c972ba" providerId="ADAL" clId="{272D8E9C-1512-4CFD-834F-1FB8777CA41C}" dt="2021-04-18T10:19:14.848" v="11" actId="20577"/>
          <ac:spMkLst>
            <pc:docMk/>
            <pc:sldMk cId="1331178014" sldId="256"/>
            <ac:spMk id="3" creationId="{FD1EE5AE-531F-46B2-BC77-BEC77D90CE70}"/>
          </ac:spMkLst>
        </pc:spChg>
      </pc:sldChg>
    </pc:docChg>
  </pc:docChgLst>
  <pc:docChgLst>
    <pc:chgData name="Thomas Stensitzki" userId="75cafe6b-2f2a-469b-85c4-eec3b9c972ba" providerId="ADAL" clId="{26D9F345-51D2-4E04-9BC6-A36160CB4499}"/>
    <pc:docChg chg="modSld">
      <pc:chgData name="Thomas Stensitzki" userId="75cafe6b-2f2a-469b-85c4-eec3b9c972ba" providerId="ADAL" clId="{26D9F345-51D2-4E04-9BC6-A36160CB4499}" dt="2020-08-23T12:38:57.024" v="0" actId="729"/>
      <pc:docMkLst>
        <pc:docMk/>
      </pc:docMkLst>
      <pc:sldChg chg="mod modShow">
        <pc:chgData name="Thomas Stensitzki" userId="75cafe6b-2f2a-469b-85c4-eec3b9c972ba" providerId="ADAL" clId="{26D9F345-51D2-4E04-9BC6-A36160CB4499}" dt="2020-08-23T12:38:57.024" v="0" actId="729"/>
        <pc:sldMkLst>
          <pc:docMk/>
          <pc:sldMk cId="2987849416" sldId="261"/>
        </pc:sldMkLst>
      </pc:sldChg>
    </pc:docChg>
  </pc:docChgLst>
  <pc:docChgLst>
    <pc:chgData name="Thomas Stensitzki" userId="75cafe6b-2f2a-469b-85c4-eec3b9c972ba" providerId="ADAL" clId="{426B5353-CC1A-46F7-AE4E-AA86B8F4A37A}"/>
    <pc:docChg chg="undo custSel addSld delSld modSld sldOrd modMainMaster addSection modSection">
      <pc:chgData name="Thomas Stensitzki" userId="75cafe6b-2f2a-469b-85c4-eec3b9c972ba" providerId="ADAL" clId="{426B5353-CC1A-46F7-AE4E-AA86B8F4A37A}" dt="2023-04-18T19:15:05.989" v="3662" actId="47"/>
      <pc:docMkLst>
        <pc:docMk/>
      </pc:docMkLst>
      <pc:sldChg chg="addSp delSp modSp mod modTransition">
        <pc:chgData name="Thomas Stensitzki" userId="75cafe6b-2f2a-469b-85c4-eec3b9c972ba" providerId="ADAL" clId="{426B5353-CC1A-46F7-AE4E-AA86B8F4A37A}" dt="2023-04-16T10:18:55.850" v="3660" actId="478"/>
        <pc:sldMkLst>
          <pc:docMk/>
          <pc:sldMk cId="1331178014" sldId="256"/>
        </pc:sldMkLst>
        <pc:spChg chg="mod">
          <ac:chgData name="Thomas Stensitzki" userId="75cafe6b-2f2a-469b-85c4-eec3b9c972ba" providerId="ADAL" clId="{426B5353-CC1A-46F7-AE4E-AA86B8F4A37A}" dt="2023-03-17T16:17:32.273" v="34" actId="20577"/>
          <ac:spMkLst>
            <pc:docMk/>
            <pc:sldMk cId="1331178014" sldId="256"/>
            <ac:spMk id="2" creationId="{E137B2CB-D047-404D-B8CC-C662AA78F69E}"/>
          </ac:spMkLst>
        </pc:spChg>
        <pc:spChg chg="mod">
          <ac:chgData name="Thomas Stensitzki" userId="75cafe6b-2f2a-469b-85c4-eec3b9c972ba" providerId="ADAL" clId="{426B5353-CC1A-46F7-AE4E-AA86B8F4A37A}" dt="2023-03-17T16:17:38.276" v="36" actId="6549"/>
          <ac:spMkLst>
            <pc:docMk/>
            <pc:sldMk cId="1331178014" sldId="256"/>
            <ac:spMk id="3" creationId="{FD1EE5AE-531F-46B2-BC77-BEC77D90CE70}"/>
          </ac:spMkLst>
        </pc:spChg>
        <pc:spChg chg="add del mod">
          <ac:chgData name="Thomas Stensitzki" userId="75cafe6b-2f2a-469b-85c4-eec3b9c972ba" providerId="ADAL" clId="{426B5353-CC1A-46F7-AE4E-AA86B8F4A37A}" dt="2023-04-16T10:18:55.850" v="3660" actId="478"/>
          <ac:spMkLst>
            <pc:docMk/>
            <pc:sldMk cId="1331178014" sldId="256"/>
            <ac:spMk id="4" creationId="{DA770BFE-782E-B307-D2FA-56958D23A4D1}"/>
          </ac:spMkLst>
        </pc:spChg>
      </pc:sldChg>
      <pc:sldChg chg="modSp del mod modTransition">
        <pc:chgData name="Thomas Stensitzki" userId="75cafe6b-2f2a-469b-85c4-eec3b9c972ba" providerId="ADAL" clId="{426B5353-CC1A-46F7-AE4E-AA86B8F4A37A}" dt="2023-04-18T19:15:05.989" v="3662" actId="47"/>
        <pc:sldMkLst>
          <pc:docMk/>
          <pc:sldMk cId="2213403937" sldId="259"/>
        </pc:sldMkLst>
        <pc:spChg chg="mod">
          <ac:chgData name="Thomas Stensitzki" userId="75cafe6b-2f2a-469b-85c4-eec3b9c972ba" providerId="ADAL" clId="{426B5353-CC1A-46F7-AE4E-AA86B8F4A37A}" dt="2023-03-17T17:26:34.105" v="191" actId="20577"/>
          <ac:spMkLst>
            <pc:docMk/>
            <pc:sldMk cId="2213403937" sldId="259"/>
            <ac:spMk id="4" creationId="{1D2D1BF2-DBEA-44D1-B318-6E31D982F99B}"/>
          </ac:spMkLst>
        </pc:spChg>
      </pc:sldChg>
      <pc:sldChg chg="modSp mod modTransition">
        <pc:chgData name="Thomas Stensitzki" userId="75cafe6b-2f2a-469b-85c4-eec3b9c972ba" providerId="ADAL" clId="{426B5353-CC1A-46F7-AE4E-AA86B8F4A37A}" dt="2023-03-21T12:38:48.750" v="2421"/>
        <pc:sldMkLst>
          <pc:docMk/>
          <pc:sldMk cId="1916615734" sldId="274"/>
        </pc:sldMkLst>
        <pc:spChg chg="mod">
          <ac:chgData name="Thomas Stensitzki" userId="75cafe6b-2f2a-469b-85c4-eec3b9c972ba" providerId="ADAL" clId="{426B5353-CC1A-46F7-AE4E-AA86B8F4A37A}" dt="2023-03-17T17:17:40.309" v="57" actId="20577"/>
          <ac:spMkLst>
            <pc:docMk/>
            <pc:sldMk cId="1916615734" sldId="274"/>
            <ac:spMk id="4" creationId="{70E8EAA7-76C4-4D2B-81CE-57CA4627D39E}"/>
          </ac:spMkLst>
        </pc:spChg>
        <pc:spChg chg="mod">
          <ac:chgData name="Thomas Stensitzki" userId="75cafe6b-2f2a-469b-85c4-eec3b9c972ba" providerId="ADAL" clId="{426B5353-CC1A-46F7-AE4E-AA86B8F4A37A}" dt="2023-03-17T17:27:08.041" v="203" actId="20577"/>
          <ac:spMkLst>
            <pc:docMk/>
            <pc:sldMk cId="1916615734" sldId="274"/>
            <ac:spMk id="5" creationId="{94140262-613E-47E0-8110-F2C2EDE2EFD9}"/>
          </ac:spMkLst>
        </pc:spChg>
      </pc:sldChg>
      <pc:sldChg chg="addSp delSp modSp mod modTransition modClrScheme modAnim chgLayout">
        <pc:chgData name="Thomas Stensitzki" userId="75cafe6b-2f2a-469b-85c4-eec3b9c972ba" providerId="ADAL" clId="{426B5353-CC1A-46F7-AE4E-AA86B8F4A37A}" dt="2023-03-21T12:38:48.750" v="2421"/>
        <pc:sldMkLst>
          <pc:docMk/>
          <pc:sldMk cId="3683526589" sldId="289"/>
        </pc:sldMkLst>
        <pc:spChg chg="add del mod ord">
          <ac:chgData name="Thomas Stensitzki" userId="75cafe6b-2f2a-469b-85c4-eec3b9c972ba" providerId="ADAL" clId="{426B5353-CC1A-46F7-AE4E-AA86B8F4A37A}" dt="2023-03-17T17:22:48.469" v="72" actId="478"/>
          <ac:spMkLst>
            <pc:docMk/>
            <pc:sldMk cId="3683526589" sldId="289"/>
            <ac:spMk id="2" creationId="{61AAD7F8-4F34-E975-A59A-DF6976321889}"/>
          </ac:spMkLst>
        </pc:spChg>
        <pc:spChg chg="mod ord">
          <ac:chgData name="Thomas Stensitzki" userId="75cafe6b-2f2a-469b-85c4-eec3b9c972ba" providerId="ADAL" clId="{426B5353-CC1A-46F7-AE4E-AA86B8F4A37A}" dt="2023-03-17T17:22:58.182" v="93" actId="20577"/>
          <ac:spMkLst>
            <pc:docMk/>
            <pc:sldMk cId="3683526589" sldId="289"/>
            <ac:spMk id="4" creationId="{3B0F36BD-82D1-4B5F-9500-391DE0918C8C}"/>
          </ac:spMkLst>
        </pc:spChg>
        <pc:spChg chg="mod ord">
          <ac:chgData name="Thomas Stensitzki" userId="75cafe6b-2f2a-469b-85c4-eec3b9c972ba" providerId="ADAL" clId="{426B5353-CC1A-46F7-AE4E-AA86B8F4A37A}" dt="2023-03-17T17:23:26.667" v="99" actId="15"/>
          <ac:spMkLst>
            <pc:docMk/>
            <pc:sldMk cId="3683526589" sldId="289"/>
            <ac:spMk id="5" creationId="{33FEEF1C-5D0F-4F05-8367-A0031B650FDD}"/>
          </ac:spMkLst>
        </pc:spChg>
        <pc:grpChg chg="add del mod">
          <ac:chgData name="Thomas Stensitzki" userId="75cafe6b-2f2a-469b-85c4-eec3b9c972ba" providerId="ADAL" clId="{426B5353-CC1A-46F7-AE4E-AA86B8F4A37A}" dt="2023-03-17T17:24:00.558" v="102" actId="165"/>
          <ac:grpSpMkLst>
            <pc:docMk/>
            <pc:sldMk cId="3683526589" sldId="289"/>
            <ac:grpSpMk id="3" creationId="{88E87820-AA0F-CCB6-46C7-41BB95A4840F}"/>
          </ac:grpSpMkLst>
        </pc:grpChg>
        <pc:graphicFrameChg chg="mod topLvl modGraphic">
          <ac:chgData name="Thomas Stensitzki" userId="75cafe6b-2f2a-469b-85c4-eec3b9c972ba" providerId="ADAL" clId="{426B5353-CC1A-46F7-AE4E-AA86B8F4A37A}" dt="2023-03-17T17:35:00.720" v="313" actId="208"/>
          <ac:graphicFrameMkLst>
            <pc:docMk/>
            <pc:sldMk cId="3683526589" sldId="289"/>
            <ac:graphicFrameMk id="7" creationId="{8D47D7D1-41DB-C31B-D4D9-7D316E67ACD3}"/>
          </ac:graphicFrameMkLst>
        </pc:graphicFrameChg>
        <pc:picChg chg="mod topLvl">
          <ac:chgData name="Thomas Stensitzki" userId="75cafe6b-2f2a-469b-85c4-eec3b9c972ba" providerId="ADAL" clId="{426B5353-CC1A-46F7-AE4E-AA86B8F4A37A}" dt="2023-03-17T17:24:06.805" v="104" actId="1076"/>
          <ac:picMkLst>
            <pc:docMk/>
            <pc:sldMk cId="3683526589" sldId="289"/>
            <ac:picMk id="6" creationId="{25050F78-91DA-289F-A22C-8398EAB1F9B0}"/>
          </ac:picMkLst>
        </pc:picChg>
      </pc:sldChg>
      <pc:sldChg chg="modSp mod modTransition">
        <pc:chgData name="Thomas Stensitzki" userId="75cafe6b-2f2a-469b-85c4-eec3b9c972ba" providerId="ADAL" clId="{426B5353-CC1A-46F7-AE4E-AA86B8F4A37A}" dt="2023-03-21T12:38:48.750" v="2421"/>
        <pc:sldMkLst>
          <pc:docMk/>
          <pc:sldMk cId="149670013" sldId="290"/>
        </pc:sldMkLst>
        <pc:spChg chg="mod">
          <ac:chgData name="Thomas Stensitzki" userId="75cafe6b-2f2a-469b-85c4-eec3b9c972ba" providerId="ADAL" clId="{426B5353-CC1A-46F7-AE4E-AA86B8F4A37A}" dt="2023-03-17T17:39:22.545" v="362"/>
          <ac:spMkLst>
            <pc:docMk/>
            <pc:sldMk cId="149670013" sldId="290"/>
            <ac:spMk id="5" creationId="{D0C5CA75-F50B-4E59-BA26-D97E0360F1CB}"/>
          </ac:spMkLst>
        </pc:spChg>
      </pc:sldChg>
      <pc:sldChg chg="addSp delSp modSp new mod modTransition modAnim">
        <pc:chgData name="Thomas Stensitzki" userId="75cafe6b-2f2a-469b-85c4-eec3b9c972ba" providerId="ADAL" clId="{426B5353-CC1A-46F7-AE4E-AA86B8F4A37A}" dt="2023-03-27T16:25:59.469" v="3647" actId="1036"/>
        <pc:sldMkLst>
          <pc:docMk/>
          <pc:sldMk cId="2287833289" sldId="291"/>
        </pc:sldMkLst>
        <pc:spChg chg="mod">
          <ac:chgData name="Thomas Stensitzki" userId="75cafe6b-2f2a-469b-85c4-eec3b9c972ba" providerId="ADAL" clId="{426B5353-CC1A-46F7-AE4E-AA86B8F4A37A}" dt="2023-03-17T17:26:55.255" v="193"/>
          <ac:spMkLst>
            <pc:docMk/>
            <pc:sldMk cId="2287833289" sldId="291"/>
            <ac:spMk id="2" creationId="{90BC32C2-E686-1AA6-ABBE-D501CFB9C832}"/>
          </ac:spMkLst>
        </pc:spChg>
        <pc:spChg chg="mod">
          <ac:chgData name="Thomas Stensitzki" userId="75cafe6b-2f2a-469b-85c4-eec3b9c972ba" providerId="ADAL" clId="{426B5353-CC1A-46F7-AE4E-AA86B8F4A37A}" dt="2023-03-17T17:28:17.486" v="223" actId="20577"/>
          <ac:spMkLst>
            <pc:docMk/>
            <pc:sldMk cId="2287833289" sldId="291"/>
            <ac:spMk id="3" creationId="{B5C5C15D-21DC-F35E-9699-9F1925A8AFCB}"/>
          </ac:spMkLst>
        </pc:spChg>
        <pc:spChg chg="del">
          <ac:chgData name="Thomas Stensitzki" userId="75cafe6b-2f2a-469b-85c4-eec3b9c972ba" providerId="ADAL" clId="{426B5353-CC1A-46F7-AE4E-AA86B8F4A37A}" dt="2023-03-17T17:27:51.251" v="217" actId="478"/>
          <ac:spMkLst>
            <pc:docMk/>
            <pc:sldMk cId="2287833289" sldId="291"/>
            <ac:spMk id="4" creationId="{9C1D55F8-9BDC-EA9F-FCC0-74042BCD878F}"/>
          </ac:spMkLst>
        </pc:spChg>
        <pc:graphicFrameChg chg="add mod modGraphic">
          <ac:chgData name="Thomas Stensitzki" userId="75cafe6b-2f2a-469b-85c4-eec3b9c972ba" providerId="ADAL" clId="{426B5353-CC1A-46F7-AE4E-AA86B8F4A37A}" dt="2023-03-27T16:25:59.469" v="3647" actId="1036"/>
          <ac:graphicFrameMkLst>
            <pc:docMk/>
            <pc:sldMk cId="2287833289" sldId="291"/>
            <ac:graphicFrameMk id="5" creationId="{3BB738EE-4B19-7C45-4BFE-8B523520000D}"/>
          </ac:graphicFrameMkLst>
        </pc:graphicFrameChg>
      </pc:sldChg>
      <pc:sldChg chg="del">
        <pc:chgData name="Thomas Stensitzki" userId="75cafe6b-2f2a-469b-85c4-eec3b9c972ba" providerId="ADAL" clId="{426B5353-CC1A-46F7-AE4E-AA86B8F4A37A}" dt="2023-03-17T17:25:12.710" v="112" actId="47"/>
        <pc:sldMkLst>
          <pc:docMk/>
          <pc:sldMk cId="4214215303" sldId="291"/>
        </pc:sldMkLst>
      </pc:sldChg>
      <pc:sldChg chg="addSp delSp modSp new mod modTransition modClrScheme modAnim chgLayout">
        <pc:chgData name="Thomas Stensitzki" userId="75cafe6b-2f2a-469b-85c4-eec3b9c972ba" providerId="ADAL" clId="{426B5353-CC1A-46F7-AE4E-AA86B8F4A37A}" dt="2023-03-21T12:39:55.512" v="2428" actId="113"/>
        <pc:sldMkLst>
          <pc:docMk/>
          <pc:sldMk cId="1611388703" sldId="292"/>
        </pc:sldMkLst>
        <pc:spChg chg="del mod ord">
          <ac:chgData name="Thomas Stensitzki" userId="75cafe6b-2f2a-469b-85c4-eec3b9c972ba" providerId="ADAL" clId="{426B5353-CC1A-46F7-AE4E-AA86B8F4A37A}" dt="2023-03-17T17:29:53.391" v="247" actId="700"/>
          <ac:spMkLst>
            <pc:docMk/>
            <pc:sldMk cId="1611388703" sldId="292"/>
            <ac:spMk id="2" creationId="{C6EEA933-7E99-F7FB-3A62-117CA1295DEB}"/>
          </ac:spMkLst>
        </pc:spChg>
        <pc:spChg chg="del">
          <ac:chgData name="Thomas Stensitzki" userId="75cafe6b-2f2a-469b-85c4-eec3b9c972ba" providerId="ADAL" clId="{426B5353-CC1A-46F7-AE4E-AA86B8F4A37A}" dt="2023-03-17T17:29:53.391" v="247" actId="700"/>
          <ac:spMkLst>
            <pc:docMk/>
            <pc:sldMk cId="1611388703" sldId="292"/>
            <ac:spMk id="3" creationId="{D3D954A9-1D99-69B8-DFE6-5FA0C7D808BC}"/>
          </ac:spMkLst>
        </pc:spChg>
        <pc:spChg chg="del">
          <ac:chgData name="Thomas Stensitzki" userId="75cafe6b-2f2a-469b-85c4-eec3b9c972ba" providerId="ADAL" clId="{426B5353-CC1A-46F7-AE4E-AA86B8F4A37A}" dt="2023-03-17T17:29:53.391" v="247" actId="700"/>
          <ac:spMkLst>
            <pc:docMk/>
            <pc:sldMk cId="1611388703" sldId="292"/>
            <ac:spMk id="4" creationId="{16E08CE9-BEFF-60C2-ACA4-8C69BEA00B4A}"/>
          </ac:spMkLst>
        </pc:spChg>
        <pc:spChg chg="add mod ord">
          <ac:chgData name="Thomas Stensitzki" userId="75cafe6b-2f2a-469b-85c4-eec3b9c972ba" providerId="ADAL" clId="{426B5353-CC1A-46F7-AE4E-AA86B8F4A37A}" dt="2023-03-17T17:40:22.037" v="404" actId="1076"/>
          <ac:spMkLst>
            <pc:docMk/>
            <pc:sldMk cId="1611388703" sldId="292"/>
            <ac:spMk id="5" creationId="{B0CE8DDA-F3B2-7464-76B6-01492D64359F}"/>
          </ac:spMkLst>
        </pc:spChg>
        <pc:spChg chg="add mod">
          <ac:chgData name="Thomas Stensitzki" userId="75cafe6b-2f2a-469b-85c4-eec3b9c972ba" providerId="ADAL" clId="{426B5353-CC1A-46F7-AE4E-AA86B8F4A37A}" dt="2023-03-17T17:35:38.764" v="314" actId="207"/>
          <ac:spMkLst>
            <pc:docMk/>
            <pc:sldMk cId="1611388703" sldId="292"/>
            <ac:spMk id="6" creationId="{1F2E1E3D-40A8-15F9-AE50-1179C685248F}"/>
          </ac:spMkLst>
        </pc:spChg>
        <pc:spChg chg="add mod">
          <ac:chgData name="Thomas Stensitzki" userId="75cafe6b-2f2a-469b-85c4-eec3b9c972ba" providerId="ADAL" clId="{426B5353-CC1A-46F7-AE4E-AA86B8F4A37A}" dt="2023-03-19T12:48:42.785" v="451" actId="207"/>
          <ac:spMkLst>
            <pc:docMk/>
            <pc:sldMk cId="1611388703" sldId="292"/>
            <ac:spMk id="7" creationId="{E9FA3C4E-F0C9-6C1E-665A-C26710D313DA}"/>
          </ac:spMkLst>
        </pc:spChg>
        <pc:spChg chg="add mod">
          <ac:chgData name="Thomas Stensitzki" userId="75cafe6b-2f2a-469b-85c4-eec3b9c972ba" providerId="ADAL" clId="{426B5353-CC1A-46F7-AE4E-AA86B8F4A37A}" dt="2023-03-19T12:48:42.785" v="451" actId="207"/>
          <ac:spMkLst>
            <pc:docMk/>
            <pc:sldMk cId="1611388703" sldId="292"/>
            <ac:spMk id="8" creationId="{782CC58B-83C9-CC0C-71A3-C38B474DF720}"/>
          </ac:spMkLst>
        </pc:spChg>
        <pc:spChg chg="add mod">
          <ac:chgData name="Thomas Stensitzki" userId="75cafe6b-2f2a-469b-85c4-eec3b9c972ba" providerId="ADAL" clId="{426B5353-CC1A-46F7-AE4E-AA86B8F4A37A}" dt="2023-03-17T17:35:46.447" v="315" actId="208"/>
          <ac:spMkLst>
            <pc:docMk/>
            <pc:sldMk cId="1611388703" sldId="292"/>
            <ac:spMk id="9" creationId="{16367DAE-E92D-DC12-0BE0-FAA46905D8D3}"/>
          </ac:spMkLst>
        </pc:spChg>
        <pc:spChg chg="add mod">
          <ac:chgData name="Thomas Stensitzki" userId="75cafe6b-2f2a-469b-85c4-eec3b9c972ba" providerId="ADAL" clId="{426B5353-CC1A-46F7-AE4E-AA86B8F4A37A}" dt="2023-03-21T12:39:28.940" v="2423" actId="20577"/>
          <ac:spMkLst>
            <pc:docMk/>
            <pc:sldMk cId="1611388703" sldId="292"/>
            <ac:spMk id="10" creationId="{3736F066-EE83-F935-B65C-D3AD97F0980B}"/>
          </ac:spMkLst>
        </pc:spChg>
        <pc:spChg chg="add mod">
          <ac:chgData name="Thomas Stensitzki" userId="75cafe6b-2f2a-469b-85c4-eec3b9c972ba" providerId="ADAL" clId="{426B5353-CC1A-46F7-AE4E-AA86B8F4A37A}" dt="2023-03-21T12:39:39.056" v="2425" actId="20577"/>
          <ac:spMkLst>
            <pc:docMk/>
            <pc:sldMk cId="1611388703" sldId="292"/>
            <ac:spMk id="11" creationId="{9E9492AF-CCA6-852F-29D1-4167AD0677D1}"/>
          </ac:spMkLst>
        </pc:spChg>
        <pc:spChg chg="add mod">
          <ac:chgData name="Thomas Stensitzki" userId="75cafe6b-2f2a-469b-85c4-eec3b9c972ba" providerId="ADAL" clId="{426B5353-CC1A-46F7-AE4E-AA86B8F4A37A}" dt="2023-03-21T12:39:55.512" v="2428" actId="113"/>
          <ac:spMkLst>
            <pc:docMk/>
            <pc:sldMk cId="1611388703" sldId="292"/>
            <ac:spMk id="12" creationId="{A6CE1CF2-2506-49B4-473E-144BD4FDF4EC}"/>
          </ac:spMkLst>
        </pc:spChg>
      </pc:sldChg>
      <pc:sldChg chg="addSp modSp new mod modTransition modNotesTx">
        <pc:chgData name="Thomas Stensitzki" userId="75cafe6b-2f2a-469b-85c4-eec3b9c972ba" providerId="ADAL" clId="{426B5353-CC1A-46F7-AE4E-AA86B8F4A37A}" dt="2023-03-21T12:38:48.750" v="2421"/>
        <pc:sldMkLst>
          <pc:docMk/>
          <pc:sldMk cId="162531940" sldId="293"/>
        </pc:sldMkLst>
        <pc:spChg chg="mod">
          <ac:chgData name="Thomas Stensitzki" userId="75cafe6b-2f2a-469b-85c4-eec3b9c972ba" providerId="ADAL" clId="{426B5353-CC1A-46F7-AE4E-AA86B8F4A37A}" dt="2023-03-17T17:37:24.954" v="351" actId="20577"/>
          <ac:spMkLst>
            <pc:docMk/>
            <pc:sldMk cId="162531940" sldId="293"/>
            <ac:spMk id="2" creationId="{D021F070-DF47-9F1B-CF70-EF3D3C974599}"/>
          </ac:spMkLst>
        </pc:spChg>
        <pc:spChg chg="add mod">
          <ac:chgData name="Thomas Stensitzki" userId="75cafe6b-2f2a-469b-85c4-eec3b9c972ba" providerId="ADAL" clId="{426B5353-CC1A-46F7-AE4E-AA86B8F4A37A}" dt="2023-03-21T12:38:35.133" v="2420" actId="1076"/>
          <ac:spMkLst>
            <pc:docMk/>
            <pc:sldMk cId="162531940" sldId="293"/>
            <ac:spMk id="5" creationId="{DCA572BB-B66A-5502-5CF2-B675AF2F1EA0}"/>
          </ac:spMkLst>
        </pc:spChg>
        <pc:picChg chg="add mod">
          <ac:chgData name="Thomas Stensitzki" userId="75cafe6b-2f2a-469b-85c4-eec3b9c972ba" providerId="ADAL" clId="{426B5353-CC1A-46F7-AE4E-AA86B8F4A37A}" dt="2023-03-17T17:37:38.695" v="354" actId="1076"/>
          <ac:picMkLst>
            <pc:docMk/>
            <pc:sldMk cId="162531940" sldId="293"/>
            <ac:picMk id="3" creationId="{402CA08E-7DF5-2161-7623-6B107F7B49F6}"/>
          </ac:picMkLst>
        </pc:picChg>
      </pc:sldChg>
      <pc:sldChg chg="modSp add mod ord modTransition">
        <pc:chgData name="Thomas Stensitzki" userId="75cafe6b-2f2a-469b-85c4-eec3b9c972ba" providerId="ADAL" clId="{426B5353-CC1A-46F7-AE4E-AA86B8F4A37A}" dt="2023-03-21T12:38:48.750" v="2421"/>
        <pc:sldMkLst>
          <pc:docMk/>
          <pc:sldMk cId="455417365" sldId="294"/>
        </pc:sldMkLst>
        <pc:spChg chg="mod">
          <ac:chgData name="Thomas Stensitzki" userId="75cafe6b-2f2a-469b-85c4-eec3b9c972ba" providerId="ADAL" clId="{426B5353-CC1A-46F7-AE4E-AA86B8F4A37A}" dt="2023-03-17T17:38:40.813" v="360"/>
          <ac:spMkLst>
            <pc:docMk/>
            <pc:sldMk cId="455417365" sldId="294"/>
            <ac:spMk id="4" creationId="{70E8EAA7-76C4-4D2B-81CE-57CA4627D39E}"/>
          </ac:spMkLst>
        </pc:spChg>
        <pc:spChg chg="mod">
          <ac:chgData name="Thomas Stensitzki" userId="75cafe6b-2f2a-469b-85c4-eec3b9c972ba" providerId="ADAL" clId="{426B5353-CC1A-46F7-AE4E-AA86B8F4A37A}" dt="2023-03-17T17:38:45.797" v="361" actId="6549"/>
          <ac:spMkLst>
            <pc:docMk/>
            <pc:sldMk cId="455417365" sldId="294"/>
            <ac:spMk id="5" creationId="{94140262-613E-47E0-8110-F2C2EDE2EFD9}"/>
          </ac:spMkLst>
        </pc:spChg>
      </pc:sldChg>
      <pc:sldChg chg="addSp delSp modSp new mod modTransition modClrScheme modAnim chgLayout">
        <pc:chgData name="Thomas Stensitzki" userId="75cafe6b-2f2a-469b-85c4-eec3b9c972ba" providerId="ADAL" clId="{426B5353-CC1A-46F7-AE4E-AA86B8F4A37A}" dt="2023-03-21T15:20:52.237" v="3381" actId="14100"/>
        <pc:sldMkLst>
          <pc:docMk/>
          <pc:sldMk cId="2624360572" sldId="295"/>
        </pc:sldMkLst>
        <pc:spChg chg="del mod ord">
          <ac:chgData name="Thomas Stensitzki" userId="75cafe6b-2f2a-469b-85c4-eec3b9c972ba" providerId="ADAL" clId="{426B5353-CC1A-46F7-AE4E-AA86B8F4A37A}" dt="2023-03-17T17:39:55.923" v="364" actId="700"/>
          <ac:spMkLst>
            <pc:docMk/>
            <pc:sldMk cId="2624360572" sldId="295"/>
            <ac:spMk id="2" creationId="{0253B667-BC53-FFD1-3F1A-FA02256B84AD}"/>
          </ac:spMkLst>
        </pc:spChg>
        <pc:spChg chg="del">
          <ac:chgData name="Thomas Stensitzki" userId="75cafe6b-2f2a-469b-85c4-eec3b9c972ba" providerId="ADAL" clId="{426B5353-CC1A-46F7-AE4E-AA86B8F4A37A}" dt="2023-03-17T17:39:55.923" v="364" actId="700"/>
          <ac:spMkLst>
            <pc:docMk/>
            <pc:sldMk cId="2624360572" sldId="295"/>
            <ac:spMk id="3" creationId="{9302C69E-3613-0BDE-EE33-24CF6AA08CE8}"/>
          </ac:spMkLst>
        </pc:spChg>
        <pc:spChg chg="add mod ord">
          <ac:chgData name="Thomas Stensitzki" userId="75cafe6b-2f2a-469b-85c4-eec3b9c972ba" providerId="ADAL" clId="{426B5353-CC1A-46F7-AE4E-AA86B8F4A37A}" dt="2023-03-19T12:48:07.764" v="447" actId="5793"/>
          <ac:spMkLst>
            <pc:docMk/>
            <pc:sldMk cId="2624360572" sldId="295"/>
            <ac:spMk id="4" creationId="{9D1177DD-1595-5C77-A720-F88752F4B74B}"/>
          </ac:spMkLst>
        </pc:spChg>
        <pc:spChg chg="add mod">
          <ac:chgData name="Thomas Stensitzki" userId="75cafe6b-2f2a-469b-85c4-eec3b9c972ba" providerId="ADAL" clId="{426B5353-CC1A-46F7-AE4E-AA86B8F4A37A}" dt="2023-03-17T17:40:45.632" v="408" actId="14100"/>
          <ac:spMkLst>
            <pc:docMk/>
            <pc:sldMk cId="2624360572" sldId="295"/>
            <ac:spMk id="5" creationId="{934324F4-EF54-BB74-5F83-7CFDC3B52DA1}"/>
          </ac:spMkLst>
        </pc:spChg>
        <pc:spChg chg="add mod">
          <ac:chgData name="Thomas Stensitzki" userId="75cafe6b-2f2a-469b-85c4-eec3b9c972ba" providerId="ADAL" clId="{426B5353-CC1A-46F7-AE4E-AA86B8F4A37A}" dt="2023-03-19T12:48:32.076" v="449" actId="207"/>
          <ac:spMkLst>
            <pc:docMk/>
            <pc:sldMk cId="2624360572" sldId="295"/>
            <ac:spMk id="6" creationId="{F705107B-7F28-A541-D650-D00D5546E37E}"/>
          </ac:spMkLst>
        </pc:spChg>
        <pc:spChg chg="add mod">
          <ac:chgData name="Thomas Stensitzki" userId="75cafe6b-2f2a-469b-85c4-eec3b9c972ba" providerId="ADAL" clId="{426B5353-CC1A-46F7-AE4E-AA86B8F4A37A}" dt="2023-03-19T12:49:37.481" v="454" actId="113"/>
          <ac:spMkLst>
            <pc:docMk/>
            <pc:sldMk cId="2624360572" sldId="295"/>
            <ac:spMk id="7" creationId="{61DEDC14-706C-4A1C-7D18-F960A9D2C664}"/>
          </ac:spMkLst>
        </pc:spChg>
        <pc:spChg chg="add mod">
          <ac:chgData name="Thomas Stensitzki" userId="75cafe6b-2f2a-469b-85c4-eec3b9c972ba" providerId="ADAL" clId="{426B5353-CC1A-46F7-AE4E-AA86B8F4A37A}" dt="2023-03-17T17:42:11.120" v="425" actId="14100"/>
          <ac:spMkLst>
            <pc:docMk/>
            <pc:sldMk cId="2624360572" sldId="295"/>
            <ac:spMk id="8" creationId="{C8AEC07E-8E6C-D5E9-DE04-8349217E19E7}"/>
          </ac:spMkLst>
        </pc:spChg>
        <pc:spChg chg="add mod">
          <ac:chgData name="Thomas Stensitzki" userId="75cafe6b-2f2a-469b-85c4-eec3b9c972ba" providerId="ADAL" clId="{426B5353-CC1A-46F7-AE4E-AA86B8F4A37A}" dt="2023-03-21T13:03:33.029" v="2471" actId="14100"/>
          <ac:spMkLst>
            <pc:docMk/>
            <pc:sldMk cId="2624360572" sldId="295"/>
            <ac:spMk id="11" creationId="{5CC13E41-EE1F-E342-80FD-609F91CE196F}"/>
          </ac:spMkLst>
        </pc:spChg>
        <pc:spChg chg="add mod">
          <ac:chgData name="Thomas Stensitzki" userId="75cafe6b-2f2a-469b-85c4-eec3b9c972ba" providerId="ADAL" clId="{426B5353-CC1A-46F7-AE4E-AA86B8F4A37A}" dt="2023-03-21T13:04:03.170" v="2476" actId="14100"/>
          <ac:spMkLst>
            <pc:docMk/>
            <pc:sldMk cId="2624360572" sldId="295"/>
            <ac:spMk id="12" creationId="{4CE96848-E0F5-7B7A-E6E3-3F8D8200F2FB}"/>
          </ac:spMkLst>
        </pc:spChg>
        <pc:spChg chg="add mod">
          <ac:chgData name="Thomas Stensitzki" userId="75cafe6b-2f2a-469b-85c4-eec3b9c972ba" providerId="ADAL" clId="{426B5353-CC1A-46F7-AE4E-AA86B8F4A37A}" dt="2023-03-21T13:04:15.845" v="2479" actId="14100"/>
          <ac:spMkLst>
            <pc:docMk/>
            <pc:sldMk cId="2624360572" sldId="295"/>
            <ac:spMk id="13" creationId="{62675512-E6CE-D0E7-686B-46F75E77F6A9}"/>
          </ac:spMkLst>
        </pc:spChg>
        <pc:spChg chg="add del mod">
          <ac:chgData name="Thomas Stensitzki" userId="75cafe6b-2f2a-469b-85c4-eec3b9c972ba" providerId="ADAL" clId="{426B5353-CC1A-46F7-AE4E-AA86B8F4A37A}" dt="2023-03-21T13:04:33.212" v="2481"/>
          <ac:spMkLst>
            <pc:docMk/>
            <pc:sldMk cId="2624360572" sldId="295"/>
            <ac:spMk id="14" creationId="{AACA7FA3-A690-BCA9-8EF4-A8E65234920C}"/>
          </ac:spMkLst>
        </pc:spChg>
        <pc:spChg chg="add mod">
          <ac:chgData name="Thomas Stensitzki" userId="75cafe6b-2f2a-469b-85c4-eec3b9c972ba" providerId="ADAL" clId="{426B5353-CC1A-46F7-AE4E-AA86B8F4A37A}" dt="2023-03-21T15:20:52.237" v="3381" actId="14100"/>
          <ac:spMkLst>
            <pc:docMk/>
            <pc:sldMk cId="2624360572" sldId="295"/>
            <ac:spMk id="15" creationId="{11D6A927-50C6-FF2F-A182-936771778628}"/>
          </ac:spMkLst>
        </pc:spChg>
        <pc:picChg chg="add mod">
          <ac:chgData name="Thomas Stensitzki" userId="75cafe6b-2f2a-469b-85c4-eec3b9c972ba" providerId="ADAL" clId="{426B5353-CC1A-46F7-AE4E-AA86B8F4A37A}" dt="2023-03-21T13:03:51.745" v="2474" actId="1076"/>
          <ac:picMkLst>
            <pc:docMk/>
            <pc:sldMk cId="2624360572" sldId="295"/>
            <ac:picMk id="3" creationId="{AA6DD56E-ABA1-FE6E-92DE-0BE84534BF55}"/>
          </ac:picMkLst>
        </pc:picChg>
        <pc:picChg chg="add mod">
          <ac:chgData name="Thomas Stensitzki" userId="75cafe6b-2f2a-469b-85c4-eec3b9c972ba" providerId="ADAL" clId="{426B5353-CC1A-46F7-AE4E-AA86B8F4A37A}" dt="2023-03-21T12:51:07.866" v="2436" actId="1076"/>
          <ac:picMkLst>
            <pc:docMk/>
            <pc:sldMk cId="2624360572" sldId="295"/>
            <ac:picMk id="10" creationId="{523423FB-A3B3-E9B0-88F8-DAE012E97AD4}"/>
          </ac:picMkLst>
        </pc:picChg>
      </pc:sldChg>
      <pc:sldChg chg="addSp delSp modSp add mod modTransition modAnim">
        <pc:chgData name="Thomas Stensitzki" userId="75cafe6b-2f2a-469b-85c4-eec3b9c972ba" providerId="ADAL" clId="{426B5353-CC1A-46F7-AE4E-AA86B8F4A37A}" dt="2023-03-21T15:20:32.160" v="3289" actId="1035"/>
        <pc:sldMkLst>
          <pc:docMk/>
          <pc:sldMk cId="3554106048" sldId="296"/>
        </pc:sldMkLst>
        <pc:spChg chg="add mod">
          <ac:chgData name="Thomas Stensitzki" userId="75cafe6b-2f2a-469b-85c4-eec3b9c972ba" providerId="ADAL" clId="{426B5353-CC1A-46F7-AE4E-AA86B8F4A37A}" dt="2023-03-19T12:57:12.308" v="558" actId="113"/>
          <ac:spMkLst>
            <pc:docMk/>
            <pc:sldMk cId="3554106048" sldId="296"/>
            <ac:spMk id="2" creationId="{4B8B04E2-64B4-B79A-C829-FFE1EE274872}"/>
          </ac:spMkLst>
        </pc:spChg>
        <pc:spChg chg="add del mod">
          <ac:chgData name="Thomas Stensitzki" userId="75cafe6b-2f2a-469b-85c4-eec3b9c972ba" providerId="ADAL" clId="{426B5353-CC1A-46F7-AE4E-AA86B8F4A37A}" dt="2023-03-19T12:55:38.450" v="535"/>
          <ac:spMkLst>
            <pc:docMk/>
            <pc:sldMk cId="3554106048" sldId="296"/>
            <ac:spMk id="3" creationId="{A6DF81EA-0141-0FA9-E83F-7F508DCB18C4}"/>
          </ac:spMkLst>
        </pc:spChg>
        <pc:spChg chg="mod">
          <ac:chgData name="Thomas Stensitzki" userId="75cafe6b-2f2a-469b-85c4-eec3b9c972ba" providerId="ADAL" clId="{426B5353-CC1A-46F7-AE4E-AA86B8F4A37A}" dt="2023-03-19T12:48:02.762" v="445" actId="6549"/>
          <ac:spMkLst>
            <pc:docMk/>
            <pc:sldMk cId="3554106048" sldId="296"/>
            <ac:spMk id="4" creationId="{9D1177DD-1595-5C77-A720-F88752F4B74B}"/>
          </ac:spMkLst>
        </pc:spChg>
        <pc:spChg chg="mod">
          <ac:chgData name="Thomas Stensitzki" userId="75cafe6b-2f2a-469b-85c4-eec3b9c972ba" providerId="ADAL" clId="{426B5353-CC1A-46F7-AE4E-AA86B8F4A37A}" dt="2023-03-19T12:48:37.356" v="450" actId="207"/>
          <ac:spMkLst>
            <pc:docMk/>
            <pc:sldMk cId="3554106048" sldId="296"/>
            <ac:spMk id="6" creationId="{F705107B-7F28-A541-D650-D00D5546E37E}"/>
          </ac:spMkLst>
        </pc:spChg>
        <pc:spChg chg="mod">
          <ac:chgData name="Thomas Stensitzki" userId="75cafe6b-2f2a-469b-85c4-eec3b9c972ba" providerId="ADAL" clId="{426B5353-CC1A-46F7-AE4E-AA86B8F4A37A}" dt="2023-03-19T12:49:48.229" v="457"/>
          <ac:spMkLst>
            <pc:docMk/>
            <pc:sldMk cId="3554106048" sldId="296"/>
            <ac:spMk id="7" creationId="{61DEDC14-706C-4A1C-7D18-F960A9D2C664}"/>
          </ac:spMkLst>
        </pc:spChg>
        <pc:spChg chg="mod">
          <ac:chgData name="Thomas Stensitzki" userId="75cafe6b-2f2a-469b-85c4-eec3b9c972ba" providerId="ADAL" clId="{426B5353-CC1A-46F7-AE4E-AA86B8F4A37A}" dt="2023-03-19T12:55:33.221" v="533" actId="14100"/>
          <ac:spMkLst>
            <pc:docMk/>
            <pc:sldMk cId="3554106048" sldId="296"/>
            <ac:spMk id="8" creationId="{C8AEC07E-8E6C-D5E9-DE04-8349217E19E7}"/>
          </ac:spMkLst>
        </pc:spChg>
        <pc:spChg chg="add mod">
          <ac:chgData name="Thomas Stensitzki" userId="75cafe6b-2f2a-469b-85c4-eec3b9c972ba" providerId="ADAL" clId="{426B5353-CC1A-46F7-AE4E-AA86B8F4A37A}" dt="2023-03-21T13:05:12.125" v="2484" actId="14100"/>
          <ac:spMkLst>
            <pc:docMk/>
            <pc:sldMk cId="3554106048" sldId="296"/>
            <ac:spMk id="12" creationId="{1EA1B50F-D7F8-3E9A-0354-C4E6DDCF90F1}"/>
          </ac:spMkLst>
        </pc:spChg>
        <pc:spChg chg="add mod">
          <ac:chgData name="Thomas Stensitzki" userId="75cafe6b-2f2a-469b-85c4-eec3b9c972ba" providerId="ADAL" clId="{426B5353-CC1A-46F7-AE4E-AA86B8F4A37A}" dt="2023-03-21T13:05:22.522" v="2487" actId="14100"/>
          <ac:spMkLst>
            <pc:docMk/>
            <pc:sldMk cId="3554106048" sldId="296"/>
            <ac:spMk id="13" creationId="{AEFF4C2F-CEDB-9C2A-9E86-F3BD8C2E0643}"/>
          </ac:spMkLst>
        </pc:spChg>
        <pc:spChg chg="add mod">
          <ac:chgData name="Thomas Stensitzki" userId="75cafe6b-2f2a-469b-85c4-eec3b9c972ba" providerId="ADAL" clId="{426B5353-CC1A-46F7-AE4E-AA86B8F4A37A}" dt="2023-03-21T13:07:01.248" v="2502" actId="14100"/>
          <ac:spMkLst>
            <pc:docMk/>
            <pc:sldMk cId="3554106048" sldId="296"/>
            <ac:spMk id="18" creationId="{03A29B5C-E150-9F81-11E3-A5BA0E75CE55}"/>
          </ac:spMkLst>
        </pc:spChg>
        <pc:spChg chg="add mod">
          <ac:chgData name="Thomas Stensitzki" userId="75cafe6b-2f2a-469b-85c4-eec3b9c972ba" providerId="ADAL" clId="{426B5353-CC1A-46F7-AE4E-AA86B8F4A37A}" dt="2023-03-21T15:20:32.160" v="3289" actId="1035"/>
          <ac:spMkLst>
            <pc:docMk/>
            <pc:sldMk cId="3554106048" sldId="296"/>
            <ac:spMk id="20" creationId="{F0E2C4A7-53F6-05D4-AD99-EA57A41E82FA}"/>
          </ac:spMkLst>
        </pc:spChg>
        <pc:picChg chg="add mod">
          <ac:chgData name="Thomas Stensitzki" userId="75cafe6b-2f2a-469b-85c4-eec3b9c972ba" providerId="ADAL" clId="{426B5353-CC1A-46F7-AE4E-AA86B8F4A37A}" dt="2023-03-21T13:01:29.912" v="2447" actId="1076"/>
          <ac:picMkLst>
            <pc:docMk/>
            <pc:sldMk cId="3554106048" sldId="296"/>
            <ac:picMk id="9" creationId="{B640EDC0-4ADF-50F7-225E-E9CA1C7CEB52}"/>
          </ac:picMkLst>
        </pc:picChg>
        <pc:picChg chg="add mod">
          <ac:chgData name="Thomas Stensitzki" userId="75cafe6b-2f2a-469b-85c4-eec3b9c972ba" providerId="ADAL" clId="{426B5353-CC1A-46F7-AE4E-AA86B8F4A37A}" dt="2023-03-21T13:02:38.313" v="2454" actId="1076"/>
          <ac:picMkLst>
            <pc:docMk/>
            <pc:sldMk cId="3554106048" sldId="296"/>
            <ac:picMk id="11" creationId="{E783D01C-42B7-D6DC-F76C-C1DA61E6C5BA}"/>
          </ac:picMkLst>
        </pc:picChg>
        <pc:cxnChg chg="add mod">
          <ac:chgData name="Thomas Stensitzki" userId="75cafe6b-2f2a-469b-85c4-eec3b9c972ba" providerId="ADAL" clId="{426B5353-CC1A-46F7-AE4E-AA86B8F4A37A}" dt="2023-03-21T13:06:02.910" v="2493" actId="14100"/>
          <ac:cxnSpMkLst>
            <pc:docMk/>
            <pc:sldMk cId="3554106048" sldId="296"/>
            <ac:cxnSpMk id="15" creationId="{68548237-3FE4-0E6B-42CD-7BB01FC459B6}"/>
          </ac:cxnSpMkLst>
        </pc:cxnChg>
        <pc:cxnChg chg="add mod">
          <ac:chgData name="Thomas Stensitzki" userId="75cafe6b-2f2a-469b-85c4-eec3b9c972ba" providerId="ADAL" clId="{426B5353-CC1A-46F7-AE4E-AA86B8F4A37A}" dt="2023-03-21T13:15:28.104" v="2562" actId="1035"/>
          <ac:cxnSpMkLst>
            <pc:docMk/>
            <pc:sldMk cId="3554106048" sldId="296"/>
            <ac:cxnSpMk id="19" creationId="{29B70223-9B91-3471-9A9B-2D8C705D4753}"/>
          </ac:cxnSpMkLst>
        </pc:cxnChg>
      </pc:sldChg>
      <pc:sldChg chg="addSp modSp add mod modTransition modAnim">
        <pc:chgData name="Thomas Stensitzki" userId="75cafe6b-2f2a-469b-85c4-eec3b9c972ba" providerId="ADAL" clId="{426B5353-CC1A-46F7-AE4E-AA86B8F4A37A}" dt="2023-03-21T15:20:21.526" v="3239" actId="14100"/>
        <pc:sldMkLst>
          <pc:docMk/>
          <pc:sldMk cId="2753288776" sldId="297"/>
        </pc:sldMkLst>
        <pc:spChg chg="mod">
          <ac:chgData name="Thomas Stensitzki" userId="75cafe6b-2f2a-469b-85c4-eec3b9c972ba" providerId="ADAL" clId="{426B5353-CC1A-46F7-AE4E-AA86B8F4A37A}" dt="2023-03-19T12:57:08.425" v="557" actId="113"/>
          <ac:spMkLst>
            <pc:docMk/>
            <pc:sldMk cId="2753288776" sldId="297"/>
            <ac:spMk id="2" creationId="{4B8B04E2-64B4-B79A-C829-FFE1EE274872}"/>
          </ac:spMkLst>
        </pc:spChg>
        <pc:spChg chg="add mod">
          <ac:chgData name="Thomas Stensitzki" userId="75cafe6b-2f2a-469b-85c4-eec3b9c972ba" providerId="ADAL" clId="{426B5353-CC1A-46F7-AE4E-AA86B8F4A37A}" dt="2023-03-19T12:57:04.412" v="556" actId="113"/>
          <ac:spMkLst>
            <pc:docMk/>
            <pc:sldMk cId="2753288776" sldId="297"/>
            <ac:spMk id="3" creationId="{02E3591D-1C62-2AFA-A914-7DD3716D2DFC}"/>
          </ac:spMkLst>
        </pc:spChg>
        <pc:spChg chg="mod">
          <ac:chgData name="Thomas Stensitzki" userId="75cafe6b-2f2a-469b-85c4-eec3b9c972ba" providerId="ADAL" clId="{426B5353-CC1A-46F7-AE4E-AA86B8F4A37A}" dt="2023-03-19T12:56:49.266" v="542" actId="14100"/>
          <ac:spMkLst>
            <pc:docMk/>
            <pc:sldMk cId="2753288776" sldId="297"/>
            <ac:spMk id="8" creationId="{C8AEC07E-8E6C-D5E9-DE04-8349217E19E7}"/>
          </ac:spMkLst>
        </pc:spChg>
        <pc:spChg chg="add mod">
          <ac:chgData name="Thomas Stensitzki" userId="75cafe6b-2f2a-469b-85c4-eec3b9c972ba" providerId="ADAL" clId="{426B5353-CC1A-46F7-AE4E-AA86B8F4A37A}" dt="2023-03-21T13:06:19.712" v="2496" actId="14100"/>
          <ac:spMkLst>
            <pc:docMk/>
            <pc:sldMk cId="2753288776" sldId="297"/>
            <ac:spMk id="13" creationId="{FF34BABA-7C72-85A5-0BF8-BB4305941B32}"/>
          </ac:spMkLst>
        </pc:spChg>
        <pc:spChg chg="add mod">
          <ac:chgData name="Thomas Stensitzki" userId="75cafe6b-2f2a-469b-85c4-eec3b9c972ba" providerId="ADAL" clId="{426B5353-CC1A-46F7-AE4E-AA86B8F4A37A}" dt="2023-03-21T13:07:21.557" v="2506" actId="14100"/>
          <ac:spMkLst>
            <pc:docMk/>
            <pc:sldMk cId="2753288776" sldId="297"/>
            <ac:spMk id="14" creationId="{D2A456B4-C9BA-8B04-A42B-A266521E601A}"/>
          </ac:spMkLst>
        </pc:spChg>
        <pc:spChg chg="add mod">
          <ac:chgData name="Thomas Stensitzki" userId="75cafe6b-2f2a-469b-85c4-eec3b9c972ba" providerId="ADAL" clId="{426B5353-CC1A-46F7-AE4E-AA86B8F4A37A}" dt="2023-03-21T13:07:14.943" v="2505" actId="14100"/>
          <ac:spMkLst>
            <pc:docMk/>
            <pc:sldMk cId="2753288776" sldId="297"/>
            <ac:spMk id="15" creationId="{11E52F17-4088-1EDD-FA23-9F6689114A2B}"/>
          </ac:spMkLst>
        </pc:spChg>
        <pc:spChg chg="add mod">
          <ac:chgData name="Thomas Stensitzki" userId="75cafe6b-2f2a-469b-85c4-eec3b9c972ba" providerId="ADAL" clId="{426B5353-CC1A-46F7-AE4E-AA86B8F4A37A}" dt="2023-03-21T15:20:21.526" v="3239" actId="14100"/>
          <ac:spMkLst>
            <pc:docMk/>
            <pc:sldMk cId="2753288776" sldId="297"/>
            <ac:spMk id="17" creationId="{15F86AE7-D394-AE72-77F5-CA8F4DB42D15}"/>
          </ac:spMkLst>
        </pc:spChg>
        <pc:picChg chg="add mod">
          <ac:chgData name="Thomas Stensitzki" userId="75cafe6b-2f2a-469b-85c4-eec3b9c972ba" providerId="ADAL" clId="{426B5353-CC1A-46F7-AE4E-AA86B8F4A37A}" dt="2023-03-21T13:01:23.260" v="2446" actId="1076"/>
          <ac:picMkLst>
            <pc:docMk/>
            <pc:sldMk cId="2753288776" sldId="297"/>
            <ac:picMk id="10" creationId="{2DAD0CB0-5C55-021C-77EA-02F40DC4A856}"/>
          </ac:picMkLst>
        </pc:picChg>
        <pc:picChg chg="add mod">
          <ac:chgData name="Thomas Stensitzki" userId="75cafe6b-2f2a-469b-85c4-eec3b9c972ba" providerId="ADAL" clId="{426B5353-CC1A-46F7-AE4E-AA86B8F4A37A}" dt="2023-03-21T13:02:28.332" v="2451" actId="1076"/>
          <ac:picMkLst>
            <pc:docMk/>
            <pc:sldMk cId="2753288776" sldId="297"/>
            <ac:picMk id="12" creationId="{836FDFE2-501E-C78A-6BC5-6925A1082F91}"/>
          </ac:picMkLst>
        </pc:picChg>
        <pc:cxnChg chg="add mod">
          <ac:chgData name="Thomas Stensitzki" userId="75cafe6b-2f2a-469b-85c4-eec3b9c972ba" providerId="ADAL" clId="{426B5353-CC1A-46F7-AE4E-AA86B8F4A37A}" dt="2023-03-21T13:16:30.987" v="2593" actId="1037"/>
          <ac:cxnSpMkLst>
            <pc:docMk/>
            <pc:sldMk cId="2753288776" sldId="297"/>
            <ac:cxnSpMk id="16" creationId="{7C03B427-AD92-007D-A9CC-7E4AD6FC6241}"/>
          </ac:cxnSpMkLst>
        </pc:cxnChg>
      </pc:sldChg>
      <pc:sldChg chg="addSp modSp add del mod">
        <pc:chgData name="Thomas Stensitzki" userId="75cafe6b-2f2a-469b-85c4-eec3b9c972ba" providerId="ADAL" clId="{426B5353-CC1A-46F7-AE4E-AA86B8F4A37A}" dt="2023-03-19T12:53:59.383" v="507" actId="47"/>
        <pc:sldMkLst>
          <pc:docMk/>
          <pc:sldMk cId="4077758868" sldId="297"/>
        </pc:sldMkLst>
        <pc:spChg chg="add mod">
          <ac:chgData name="Thomas Stensitzki" userId="75cafe6b-2f2a-469b-85c4-eec3b9c972ba" providerId="ADAL" clId="{426B5353-CC1A-46F7-AE4E-AA86B8F4A37A}" dt="2023-03-19T12:53:45.749" v="504" actId="1076"/>
          <ac:spMkLst>
            <pc:docMk/>
            <pc:sldMk cId="4077758868" sldId="297"/>
            <ac:spMk id="3" creationId="{DDDF5D4B-1D4B-5DD2-EB95-2B0C69C90C62}"/>
          </ac:spMkLst>
        </pc:spChg>
        <pc:spChg chg="mod">
          <ac:chgData name="Thomas Stensitzki" userId="75cafe6b-2f2a-469b-85c4-eec3b9c972ba" providerId="ADAL" clId="{426B5353-CC1A-46F7-AE4E-AA86B8F4A37A}" dt="2023-03-19T12:53:28.584" v="499" actId="14100"/>
          <ac:spMkLst>
            <pc:docMk/>
            <pc:sldMk cId="4077758868" sldId="297"/>
            <ac:spMk id="8" creationId="{C8AEC07E-8E6C-D5E9-DE04-8349217E19E7}"/>
          </ac:spMkLst>
        </pc:spChg>
      </pc:sldChg>
      <pc:sldChg chg="addSp modSp add del mod">
        <pc:chgData name="Thomas Stensitzki" userId="75cafe6b-2f2a-469b-85c4-eec3b9c972ba" providerId="ADAL" clId="{426B5353-CC1A-46F7-AE4E-AA86B8F4A37A}" dt="2023-03-19T12:55:08.144" v="530" actId="47"/>
        <pc:sldMkLst>
          <pc:docMk/>
          <pc:sldMk cId="4252751463" sldId="297"/>
        </pc:sldMkLst>
        <pc:spChg chg="mod">
          <ac:chgData name="Thomas Stensitzki" userId="75cafe6b-2f2a-469b-85c4-eec3b9c972ba" providerId="ADAL" clId="{426B5353-CC1A-46F7-AE4E-AA86B8F4A37A}" dt="2023-03-19T12:55:03.270" v="529" actId="6549"/>
          <ac:spMkLst>
            <pc:docMk/>
            <pc:sldMk cId="4252751463" sldId="297"/>
            <ac:spMk id="2" creationId="{4B8B04E2-64B4-B79A-C829-FFE1EE274872}"/>
          </ac:spMkLst>
        </pc:spChg>
        <pc:spChg chg="add mod">
          <ac:chgData name="Thomas Stensitzki" userId="75cafe6b-2f2a-469b-85c4-eec3b9c972ba" providerId="ADAL" clId="{426B5353-CC1A-46F7-AE4E-AA86B8F4A37A}" dt="2023-03-19T12:54:26.494" v="513" actId="1076"/>
          <ac:spMkLst>
            <pc:docMk/>
            <pc:sldMk cId="4252751463" sldId="297"/>
            <ac:spMk id="3" creationId="{5F9172F2-2545-0521-23A3-01CB1350D16F}"/>
          </ac:spMkLst>
        </pc:spChg>
        <pc:spChg chg="mod">
          <ac:chgData name="Thomas Stensitzki" userId="75cafe6b-2f2a-469b-85c4-eec3b9c972ba" providerId="ADAL" clId="{426B5353-CC1A-46F7-AE4E-AA86B8F4A37A}" dt="2023-03-19T12:54:30.822" v="514" actId="14100"/>
          <ac:spMkLst>
            <pc:docMk/>
            <pc:sldMk cId="4252751463" sldId="297"/>
            <ac:spMk id="8" creationId="{C8AEC07E-8E6C-D5E9-DE04-8349217E19E7}"/>
          </ac:spMkLst>
        </pc:spChg>
      </pc:sldChg>
      <pc:sldChg chg="add del">
        <pc:chgData name="Thomas Stensitzki" userId="75cafe6b-2f2a-469b-85c4-eec3b9c972ba" providerId="ADAL" clId="{426B5353-CC1A-46F7-AE4E-AA86B8F4A37A}" dt="2023-03-19T12:56:33.332" v="539"/>
        <pc:sldMkLst>
          <pc:docMk/>
          <pc:sldMk cId="424265155" sldId="298"/>
        </pc:sldMkLst>
      </pc:sldChg>
      <pc:sldChg chg="add del">
        <pc:chgData name="Thomas Stensitzki" userId="75cafe6b-2f2a-469b-85c4-eec3b9c972ba" providerId="ADAL" clId="{426B5353-CC1A-46F7-AE4E-AA86B8F4A37A}" dt="2023-03-19T12:54:15.848" v="511"/>
        <pc:sldMkLst>
          <pc:docMk/>
          <pc:sldMk cId="998041496" sldId="298"/>
        </pc:sldMkLst>
      </pc:sldChg>
      <pc:sldChg chg="add del">
        <pc:chgData name="Thomas Stensitzki" userId="75cafe6b-2f2a-469b-85c4-eec3b9c972ba" providerId="ADAL" clId="{426B5353-CC1A-46F7-AE4E-AA86B8F4A37A}" dt="2023-03-19T12:53:32.751" v="501"/>
        <pc:sldMkLst>
          <pc:docMk/>
          <pc:sldMk cId="3518568336" sldId="298"/>
        </pc:sldMkLst>
      </pc:sldChg>
      <pc:sldChg chg="addSp modSp new mod modTransition modAnim">
        <pc:chgData name="Thomas Stensitzki" userId="75cafe6b-2f2a-469b-85c4-eec3b9c972ba" providerId="ADAL" clId="{426B5353-CC1A-46F7-AE4E-AA86B8F4A37A}" dt="2023-03-21T15:21:41.432" v="3409" actId="20577"/>
        <pc:sldMkLst>
          <pc:docMk/>
          <pc:sldMk cId="4012003875" sldId="298"/>
        </pc:sldMkLst>
        <pc:spChg chg="mod">
          <ac:chgData name="Thomas Stensitzki" userId="75cafe6b-2f2a-469b-85c4-eec3b9c972ba" providerId="ADAL" clId="{426B5353-CC1A-46F7-AE4E-AA86B8F4A37A}" dt="2023-03-21T15:21:41.432" v="3409" actId="20577"/>
          <ac:spMkLst>
            <pc:docMk/>
            <pc:sldMk cId="4012003875" sldId="298"/>
            <ac:spMk id="2" creationId="{F261AC9D-67D9-847E-4463-F82B1D7B5DC8}"/>
          </ac:spMkLst>
        </pc:spChg>
        <pc:spChg chg="add mod">
          <ac:chgData name="Thomas Stensitzki" userId="75cafe6b-2f2a-469b-85c4-eec3b9c972ba" providerId="ADAL" clId="{426B5353-CC1A-46F7-AE4E-AA86B8F4A37A}" dt="2023-03-21T13:09:45.885" v="2515" actId="14100"/>
          <ac:spMkLst>
            <pc:docMk/>
            <pc:sldMk cId="4012003875" sldId="298"/>
            <ac:spMk id="5" creationId="{D244D4A0-F7B1-4B14-BA01-3F5D897EE92B}"/>
          </ac:spMkLst>
        </pc:spChg>
        <pc:spChg chg="add mod">
          <ac:chgData name="Thomas Stensitzki" userId="75cafe6b-2f2a-469b-85c4-eec3b9c972ba" providerId="ADAL" clId="{426B5353-CC1A-46F7-AE4E-AA86B8F4A37A}" dt="2023-03-21T13:10:25.118" v="2520" actId="13822"/>
          <ac:spMkLst>
            <pc:docMk/>
            <pc:sldMk cId="4012003875" sldId="298"/>
            <ac:spMk id="7" creationId="{12B0DC31-B6A5-3F42-CC5D-94793B55CFD0}"/>
          </ac:spMkLst>
        </pc:spChg>
        <pc:spChg chg="add mod">
          <ac:chgData name="Thomas Stensitzki" userId="75cafe6b-2f2a-469b-85c4-eec3b9c972ba" providerId="ADAL" clId="{426B5353-CC1A-46F7-AE4E-AA86B8F4A37A}" dt="2023-03-21T13:12:28.489" v="2529" actId="1076"/>
          <ac:spMkLst>
            <pc:docMk/>
            <pc:sldMk cId="4012003875" sldId="298"/>
            <ac:spMk id="8" creationId="{AAA897D3-B9C2-BBBE-C806-338DF3700BE7}"/>
          </ac:spMkLst>
        </pc:spChg>
        <pc:picChg chg="add mod">
          <ac:chgData name="Thomas Stensitzki" userId="75cafe6b-2f2a-469b-85c4-eec3b9c972ba" providerId="ADAL" clId="{426B5353-CC1A-46F7-AE4E-AA86B8F4A37A}" dt="2023-03-21T13:09:09.109" v="2510" actId="1076"/>
          <ac:picMkLst>
            <pc:docMk/>
            <pc:sldMk cId="4012003875" sldId="298"/>
            <ac:picMk id="4" creationId="{B3FF6CF8-8A1F-3580-B114-51F36DEE1338}"/>
          </ac:picMkLst>
        </pc:picChg>
        <pc:cxnChg chg="add mod">
          <ac:chgData name="Thomas Stensitzki" userId="75cafe6b-2f2a-469b-85c4-eec3b9c972ba" providerId="ADAL" clId="{426B5353-CC1A-46F7-AE4E-AA86B8F4A37A}" dt="2023-03-21T13:10:25.118" v="2520" actId="13822"/>
          <ac:cxnSpMkLst>
            <pc:docMk/>
            <pc:sldMk cId="4012003875" sldId="298"/>
            <ac:cxnSpMk id="6" creationId="{DA129882-6F09-06F1-5068-5884A43C500C}"/>
          </ac:cxnSpMkLst>
        </pc:cxnChg>
      </pc:sldChg>
      <pc:sldChg chg="addSp modSp new mod modTransition modNotesTx">
        <pc:chgData name="Thomas Stensitzki" userId="75cafe6b-2f2a-469b-85c4-eec3b9c972ba" providerId="ADAL" clId="{426B5353-CC1A-46F7-AE4E-AA86B8F4A37A}" dt="2023-03-21T15:22:58.654" v="3412" actId="20577"/>
        <pc:sldMkLst>
          <pc:docMk/>
          <pc:sldMk cId="693895973" sldId="299"/>
        </pc:sldMkLst>
        <pc:spChg chg="mod">
          <ac:chgData name="Thomas Stensitzki" userId="75cafe6b-2f2a-469b-85c4-eec3b9c972ba" providerId="ADAL" clId="{426B5353-CC1A-46F7-AE4E-AA86B8F4A37A}" dt="2023-03-19T12:58:27.996" v="624" actId="20577"/>
          <ac:spMkLst>
            <pc:docMk/>
            <pc:sldMk cId="693895973" sldId="299"/>
            <ac:spMk id="2" creationId="{BEED40B2-A561-3CA2-7997-21B3E48DD936}"/>
          </ac:spMkLst>
        </pc:spChg>
        <pc:spChg chg="add mod">
          <ac:chgData name="Thomas Stensitzki" userId="75cafe6b-2f2a-469b-85c4-eec3b9c972ba" providerId="ADAL" clId="{426B5353-CC1A-46F7-AE4E-AA86B8F4A37A}" dt="2023-03-19T12:59:35.447" v="637" actId="14100"/>
          <ac:spMkLst>
            <pc:docMk/>
            <pc:sldMk cId="693895973" sldId="299"/>
            <ac:spMk id="4" creationId="{2DC6C723-87E0-75FD-E1B2-AAE1A05476AB}"/>
          </ac:spMkLst>
        </pc:spChg>
        <pc:picChg chg="add mod">
          <ac:chgData name="Thomas Stensitzki" userId="75cafe6b-2f2a-469b-85c4-eec3b9c972ba" providerId="ADAL" clId="{426B5353-CC1A-46F7-AE4E-AA86B8F4A37A}" dt="2023-03-19T13:07:23.521" v="781" actId="1036"/>
          <ac:picMkLst>
            <pc:docMk/>
            <pc:sldMk cId="693895973" sldId="299"/>
            <ac:picMk id="3" creationId="{D83ED218-7628-E560-C44B-1787846AD100}"/>
          </ac:picMkLst>
        </pc:picChg>
        <pc:picChg chg="add mod">
          <ac:chgData name="Thomas Stensitzki" userId="75cafe6b-2f2a-469b-85c4-eec3b9c972ba" providerId="ADAL" clId="{426B5353-CC1A-46F7-AE4E-AA86B8F4A37A}" dt="2023-03-19T12:59:55.013" v="643" actId="1038"/>
          <ac:picMkLst>
            <pc:docMk/>
            <pc:sldMk cId="693895973" sldId="299"/>
            <ac:picMk id="5" creationId="{E9CCDF82-A2D8-6F93-FA5A-8654B3F6AA3A}"/>
          </ac:picMkLst>
        </pc:picChg>
        <pc:picChg chg="add mod">
          <ac:chgData name="Thomas Stensitzki" userId="75cafe6b-2f2a-469b-85c4-eec3b9c972ba" providerId="ADAL" clId="{426B5353-CC1A-46F7-AE4E-AA86B8F4A37A}" dt="2023-03-19T13:00:12.236" v="645" actId="1076"/>
          <ac:picMkLst>
            <pc:docMk/>
            <pc:sldMk cId="693895973" sldId="299"/>
            <ac:picMk id="6" creationId="{A3A1EB7E-3DB6-3DBF-661F-EBDABE687523}"/>
          </ac:picMkLst>
        </pc:picChg>
        <pc:picChg chg="add mod">
          <ac:chgData name="Thomas Stensitzki" userId="75cafe6b-2f2a-469b-85c4-eec3b9c972ba" providerId="ADAL" clId="{426B5353-CC1A-46F7-AE4E-AA86B8F4A37A}" dt="2023-03-19T13:00:26.471" v="652" actId="1036"/>
          <ac:picMkLst>
            <pc:docMk/>
            <pc:sldMk cId="693895973" sldId="299"/>
            <ac:picMk id="7" creationId="{9F3A6A0B-3D5B-2105-AC9E-2D60D1561DD1}"/>
          </ac:picMkLst>
        </pc:picChg>
        <pc:picChg chg="add mod">
          <ac:chgData name="Thomas Stensitzki" userId="75cafe6b-2f2a-469b-85c4-eec3b9c972ba" providerId="ADAL" clId="{426B5353-CC1A-46F7-AE4E-AA86B8F4A37A}" dt="2023-03-19T13:00:33.333" v="659" actId="1036"/>
          <ac:picMkLst>
            <pc:docMk/>
            <pc:sldMk cId="693895973" sldId="299"/>
            <ac:picMk id="8" creationId="{F74AF556-011C-F4B2-0693-A0B5A0BCBE43}"/>
          </ac:picMkLst>
        </pc:picChg>
        <pc:picChg chg="add mod">
          <ac:chgData name="Thomas Stensitzki" userId="75cafe6b-2f2a-469b-85c4-eec3b9c972ba" providerId="ADAL" clId="{426B5353-CC1A-46F7-AE4E-AA86B8F4A37A}" dt="2023-03-19T13:00:38.852" v="660" actId="1076"/>
          <ac:picMkLst>
            <pc:docMk/>
            <pc:sldMk cId="693895973" sldId="299"/>
            <ac:picMk id="9" creationId="{03F3AACD-4647-1A36-A440-87EC37FD8A1A}"/>
          </ac:picMkLst>
        </pc:picChg>
      </pc:sldChg>
      <pc:sldChg chg="addSp modSp add mod modTransition">
        <pc:chgData name="Thomas Stensitzki" userId="75cafe6b-2f2a-469b-85c4-eec3b9c972ba" providerId="ADAL" clId="{426B5353-CC1A-46F7-AE4E-AA86B8F4A37A}" dt="2023-03-21T15:21:49.568" v="3410"/>
        <pc:sldMkLst>
          <pc:docMk/>
          <pc:sldMk cId="2716999610" sldId="300"/>
        </pc:sldMkLst>
        <pc:spChg chg="mod">
          <ac:chgData name="Thomas Stensitzki" userId="75cafe6b-2f2a-469b-85c4-eec3b9c972ba" providerId="ADAL" clId="{426B5353-CC1A-46F7-AE4E-AA86B8F4A37A}" dt="2023-03-21T15:21:49.568" v="3410"/>
          <ac:spMkLst>
            <pc:docMk/>
            <pc:sldMk cId="2716999610" sldId="300"/>
            <ac:spMk id="2" creationId="{F261AC9D-67D9-847E-4463-F82B1D7B5DC8}"/>
          </ac:spMkLst>
        </pc:spChg>
        <pc:spChg chg="add mod">
          <ac:chgData name="Thomas Stensitzki" userId="75cafe6b-2f2a-469b-85c4-eec3b9c972ba" providerId="ADAL" clId="{426B5353-CC1A-46F7-AE4E-AA86B8F4A37A}" dt="2023-03-21T13:11:48.008" v="2527" actId="14100"/>
          <ac:spMkLst>
            <pc:docMk/>
            <pc:sldMk cId="2716999610" sldId="300"/>
            <ac:spMk id="5" creationId="{8DFCBCEE-6463-5928-2156-C808C5D63615}"/>
          </ac:spMkLst>
        </pc:spChg>
        <pc:picChg chg="add mod">
          <ac:chgData name="Thomas Stensitzki" userId="75cafe6b-2f2a-469b-85c4-eec3b9c972ba" providerId="ADAL" clId="{426B5353-CC1A-46F7-AE4E-AA86B8F4A37A}" dt="2023-03-21T13:11:33.093" v="2524" actId="1076"/>
          <ac:picMkLst>
            <pc:docMk/>
            <pc:sldMk cId="2716999610" sldId="300"/>
            <ac:picMk id="4" creationId="{C6527E70-3C49-0A4A-BA3E-E13AF85CA901}"/>
          </ac:picMkLst>
        </pc:picChg>
      </pc:sldChg>
      <pc:sldChg chg="addSp modSp new mod modTransition modNotesTx">
        <pc:chgData name="Thomas Stensitzki" userId="75cafe6b-2f2a-469b-85c4-eec3b9c972ba" providerId="ADAL" clId="{426B5353-CC1A-46F7-AE4E-AA86B8F4A37A}" dt="2023-03-21T15:23:03.032" v="3413"/>
        <pc:sldMkLst>
          <pc:docMk/>
          <pc:sldMk cId="493771966" sldId="301"/>
        </pc:sldMkLst>
        <pc:spChg chg="mod">
          <ac:chgData name="Thomas Stensitzki" userId="75cafe6b-2f2a-469b-85c4-eec3b9c972ba" providerId="ADAL" clId="{426B5353-CC1A-46F7-AE4E-AA86B8F4A37A}" dt="2023-03-19T13:04:59.071" v="704" actId="20577"/>
          <ac:spMkLst>
            <pc:docMk/>
            <pc:sldMk cId="493771966" sldId="301"/>
            <ac:spMk id="2" creationId="{7525DFB0-FC40-42F5-DBD3-93B662BCBA12}"/>
          </ac:spMkLst>
        </pc:spChg>
        <pc:spChg chg="add mod">
          <ac:chgData name="Thomas Stensitzki" userId="75cafe6b-2f2a-469b-85c4-eec3b9c972ba" providerId="ADAL" clId="{426B5353-CC1A-46F7-AE4E-AA86B8F4A37A}" dt="2023-03-19T13:12:00.111" v="787" actId="404"/>
          <ac:spMkLst>
            <pc:docMk/>
            <pc:sldMk cId="493771966" sldId="301"/>
            <ac:spMk id="4" creationId="{414617F5-1CD2-B681-86F1-15E8F1624CB4}"/>
          </ac:spMkLst>
        </pc:spChg>
        <pc:picChg chg="add mod">
          <ac:chgData name="Thomas Stensitzki" userId="75cafe6b-2f2a-469b-85c4-eec3b9c972ba" providerId="ADAL" clId="{426B5353-CC1A-46F7-AE4E-AA86B8F4A37A}" dt="2023-03-19T13:07:15.375" v="762" actId="1036"/>
          <ac:picMkLst>
            <pc:docMk/>
            <pc:sldMk cId="493771966" sldId="301"/>
            <ac:picMk id="3" creationId="{F77EB1D4-90A4-57C0-424C-F5ADC3F0B13E}"/>
          </ac:picMkLst>
        </pc:picChg>
        <pc:picChg chg="add mod">
          <ac:chgData name="Thomas Stensitzki" userId="75cafe6b-2f2a-469b-85c4-eec3b9c972ba" providerId="ADAL" clId="{426B5353-CC1A-46F7-AE4E-AA86B8F4A37A}" dt="2023-03-19T13:06:57.616" v="747" actId="1035"/>
          <ac:picMkLst>
            <pc:docMk/>
            <pc:sldMk cId="493771966" sldId="301"/>
            <ac:picMk id="5" creationId="{EF4E2B0D-AEFF-B062-FEE8-202C213807B3}"/>
          </ac:picMkLst>
        </pc:picChg>
        <pc:picChg chg="add mod">
          <ac:chgData name="Thomas Stensitzki" userId="75cafe6b-2f2a-469b-85c4-eec3b9c972ba" providerId="ADAL" clId="{426B5353-CC1A-46F7-AE4E-AA86B8F4A37A}" dt="2023-03-19T13:07:04.667" v="753" actId="1035"/>
          <ac:picMkLst>
            <pc:docMk/>
            <pc:sldMk cId="493771966" sldId="301"/>
            <ac:picMk id="6" creationId="{A5C21A4D-B3EE-0281-73A8-49D1CF3B8FF7}"/>
          </ac:picMkLst>
        </pc:picChg>
        <pc:picChg chg="add mod">
          <ac:chgData name="Thomas Stensitzki" userId="75cafe6b-2f2a-469b-85c4-eec3b9c972ba" providerId="ADAL" clId="{426B5353-CC1A-46F7-AE4E-AA86B8F4A37A}" dt="2023-03-19T13:07:10.746" v="754" actId="1076"/>
          <ac:picMkLst>
            <pc:docMk/>
            <pc:sldMk cId="493771966" sldId="301"/>
            <ac:picMk id="7" creationId="{A9F78033-2B74-07F4-5D01-8CD96DFDF23B}"/>
          </ac:picMkLst>
        </pc:picChg>
      </pc:sldChg>
      <pc:sldChg chg="addSp delSp modSp add mod modTransition modNotesTx">
        <pc:chgData name="Thomas Stensitzki" userId="75cafe6b-2f2a-469b-85c4-eec3b9c972ba" providerId="ADAL" clId="{426B5353-CC1A-46F7-AE4E-AA86B8F4A37A}" dt="2023-03-21T15:23:18.253" v="3414"/>
        <pc:sldMkLst>
          <pc:docMk/>
          <pc:sldMk cId="773307044" sldId="302"/>
        </pc:sldMkLst>
        <pc:spChg chg="mod">
          <ac:chgData name="Thomas Stensitzki" userId="75cafe6b-2f2a-469b-85c4-eec3b9c972ba" providerId="ADAL" clId="{426B5353-CC1A-46F7-AE4E-AA86B8F4A37A}" dt="2023-03-19T13:12:13.387" v="791" actId="403"/>
          <ac:spMkLst>
            <pc:docMk/>
            <pc:sldMk cId="773307044" sldId="302"/>
            <ac:spMk id="4" creationId="{414617F5-1CD2-B681-86F1-15E8F1624CB4}"/>
          </ac:spMkLst>
        </pc:spChg>
        <pc:picChg chg="del">
          <ac:chgData name="Thomas Stensitzki" userId="75cafe6b-2f2a-469b-85c4-eec3b9c972ba" providerId="ADAL" clId="{426B5353-CC1A-46F7-AE4E-AA86B8F4A37A}" dt="2023-03-19T13:12:22.663" v="794" actId="478"/>
          <ac:picMkLst>
            <pc:docMk/>
            <pc:sldMk cId="773307044" sldId="302"/>
            <ac:picMk id="5" creationId="{EF4E2B0D-AEFF-B062-FEE8-202C213807B3}"/>
          </ac:picMkLst>
        </pc:picChg>
        <pc:picChg chg="del">
          <ac:chgData name="Thomas Stensitzki" userId="75cafe6b-2f2a-469b-85c4-eec3b9c972ba" providerId="ADAL" clId="{426B5353-CC1A-46F7-AE4E-AA86B8F4A37A}" dt="2023-03-19T13:12:18.166" v="793" actId="478"/>
          <ac:picMkLst>
            <pc:docMk/>
            <pc:sldMk cId="773307044" sldId="302"/>
            <ac:picMk id="6" creationId="{A5C21A4D-B3EE-0281-73A8-49D1CF3B8FF7}"/>
          </ac:picMkLst>
        </pc:picChg>
        <pc:picChg chg="del">
          <ac:chgData name="Thomas Stensitzki" userId="75cafe6b-2f2a-469b-85c4-eec3b9c972ba" providerId="ADAL" clId="{426B5353-CC1A-46F7-AE4E-AA86B8F4A37A}" dt="2023-03-19T13:12:17.130" v="792" actId="478"/>
          <ac:picMkLst>
            <pc:docMk/>
            <pc:sldMk cId="773307044" sldId="302"/>
            <ac:picMk id="7" creationId="{A9F78033-2B74-07F4-5D01-8CD96DFDF23B}"/>
          </ac:picMkLst>
        </pc:picChg>
        <pc:picChg chg="add mod">
          <ac:chgData name="Thomas Stensitzki" userId="75cafe6b-2f2a-469b-85c4-eec3b9c972ba" providerId="ADAL" clId="{426B5353-CC1A-46F7-AE4E-AA86B8F4A37A}" dt="2023-03-19T13:12:36.826" v="804" actId="1038"/>
          <ac:picMkLst>
            <pc:docMk/>
            <pc:sldMk cId="773307044" sldId="302"/>
            <ac:picMk id="8" creationId="{9DE99793-E37F-DA6F-C823-8E363939BFA4}"/>
          </ac:picMkLst>
        </pc:picChg>
      </pc:sldChg>
      <pc:sldChg chg="addSp modSp new del mod modTransition">
        <pc:chgData name="Thomas Stensitzki" userId="75cafe6b-2f2a-469b-85c4-eec3b9c972ba" providerId="ADAL" clId="{426B5353-CC1A-46F7-AE4E-AA86B8F4A37A}" dt="2023-03-21T15:23:47.386" v="3415" actId="2696"/>
        <pc:sldMkLst>
          <pc:docMk/>
          <pc:sldMk cId="3710473840" sldId="303"/>
        </pc:sldMkLst>
        <pc:spChg chg="mod">
          <ac:chgData name="Thomas Stensitzki" userId="75cafe6b-2f2a-469b-85c4-eec3b9c972ba" providerId="ADAL" clId="{426B5353-CC1A-46F7-AE4E-AA86B8F4A37A}" dt="2023-03-20T16:31:51.009" v="852" actId="5793"/>
          <ac:spMkLst>
            <pc:docMk/>
            <pc:sldMk cId="3710473840" sldId="303"/>
            <ac:spMk id="2" creationId="{34D522E9-7103-1134-8934-C58EFB8F695E}"/>
          </ac:spMkLst>
        </pc:spChg>
        <pc:graphicFrameChg chg="add mod modGraphic">
          <ac:chgData name="Thomas Stensitzki" userId="75cafe6b-2f2a-469b-85c4-eec3b9c972ba" providerId="ADAL" clId="{426B5353-CC1A-46F7-AE4E-AA86B8F4A37A}" dt="2023-03-20T16:32:13.047" v="853" actId="12385"/>
          <ac:graphicFrameMkLst>
            <pc:docMk/>
            <pc:sldMk cId="3710473840" sldId="303"/>
            <ac:graphicFrameMk id="3" creationId="{F5C7AEEE-232B-03CD-C839-1D3A6BF79BF0}"/>
          </ac:graphicFrameMkLst>
        </pc:graphicFrameChg>
      </pc:sldChg>
      <pc:sldChg chg="modSp add mod ord modTransition">
        <pc:chgData name="Thomas Stensitzki" userId="75cafe6b-2f2a-469b-85c4-eec3b9c972ba" providerId="ADAL" clId="{426B5353-CC1A-46F7-AE4E-AA86B8F4A37A}" dt="2023-03-21T12:38:48.750" v="2421"/>
        <pc:sldMkLst>
          <pc:docMk/>
          <pc:sldMk cId="1427182002" sldId="304"/>
        </pc:sldMkLst>
        <pc:spChg chg="mod">
          <ac:chgData name="Thomas Stensitzki" userId="75cafe6b-2f2a-469b-85c4-eec3b9c972ba" providerId="ADAL" clId="{426B5353-CC1A-46F7-AE4E-AA86B8F4A37A}" dt="2023-03-20T16:33:01.812" v="886" actId="20577"/>
          <ac:spMkLst>
            <pc:docMk/>
            <pc:sldMk cId="1427182002" sldId="304"/>
            <ac:spMk id="4" creationId="{70E8EAA7-76C4-4D2B-81CE-57CA4627D39E}"/>
          </ac:spMkLst>
        </pc:spChg>
      </pc:sldChg>
      <pc:sldChg chg="addSp delSp modSp new mod modTransition modClrScheme modAnim chgLayout">
        <pc:chgData name="Thomas Stensitzki" userId="75cafe6b-2f2a-469b-85c4-eec3b9c972ba" providerId="ADAL" clId="{426B5353-CC1A-46F7-AE4E-AA86B8F4A37A}" dt="2023-03-21T13:17:39.992" v="2597"/>
        <pc:sldMkLst>
          <pc:docMk/>
          <pc:sldMk cId="1093494060" sldId="305"/>
        </pc:sldMkLst>
        <pc:spChg chg="del mod ord">
          <ac:chgData name="Thomas Stensitzki" userId="75cafe6b-2f2a-469b-85c4-eec3b9c972ba" providerId="ADAL" clId="{426B5353-CC1A-46F7-AE4E-AA86B8F4A37A}" dt="2023-03-20T16:32:52.927" v="860" actId="700"/>
          <ac:spMkLst>
            <pc:docMk/>
            <pc:sldMk cId="1093494060" sldId="305"/>
            <ac:spMk id="2" creationId="{57C211FC-413F-17EB-BA90-0FCEBF69F368}"/>
          </ac:spMkLst>
        </pc:spChg>
        <pc:spChg chg="del mod ord">
          <ac:chgData name="Thomas Stensitzki" userId="75cafe6b-2f2a-469b-85c4-eec3b9c972ba" providerId="ADAL" clId="{426B5353-CC1A-46F7-AE4E-AA86B8F4A37A}" dt="2023-03-20T16:32:52.927" v="860" actId="700"/>
          <ac:spMkLst>
            <pc:docMk/>
            <pc:sldMk cId="1093494060" sldId="305"/>
            <ac:spMk id="3" creationId="{D413C239-106E-15AC-E069-3292FC46B5DC}"/>
          </ac:spMkLst>
        </pc:spChg>
        <pc:spChg chg="add mod ord">
          <ac:chgData name="Thomas Stensitzki" userId="75cafe6b-2f2a-469b-85c4-eec3b9c972ba" providerId="ADAL" clId="{426B5353-CC1A-46F7-AE4E-AA86B8F4A37A}" dt="2023-03-20T16:33:29.535" v="936" actId="20577"/>
          <ac:spMkLst>
            <pc:docMk/>
            <pc:sldMk cId="1093494060" sldId="305"/>
            <ac:spMk id="4" creationId="{A1E9742C-F1B9-D139-73C3-1EAE52551BC3}"/>
          </ac:spMkLst>
        </pc:spChg>
        <pc:spChg chg="add mod ord">
          <ac:chgData name="Thomas Stensitzki" userId="75cafe6b-2f2a-469b-85c4-eec3b9c972ba" providerId="ADAL" clId="{426B5353-CC1A-46F7-AE4E-AA86B8F4A37A}" dt="2023-03-20T16:34:06.882" v="950" actId="113"/>
          <ac:spMkLst>
            <pc:docMk/>
            <pc:sldMk cId="1093494060" sldId="305"/>
            <ac:spMk id="5" creationId="{99AC2BC8-81AF-E5B6-BACA-B05F5DC84EED}"/>
          </ac:spMkLst>
        </pc:spChg>
      </pc:sldChg>
      <pc:sldChg chg="addSp delSp modSp new mod modTransition modClrScheme modAnim chgLayout">
        <pc:chgData name="Thomas Stensitzki" userId="75cafe6b-2f2a-469b-85c4-eec3b9c972ba" providerId="ADAL" clId="{426B5353-CC1A-46F7-AE4E-AA86B8F4A37A}" dt="2023-03-21T13:18:34.587" v="2600" actId="14100"/>
        <pc:sldMkLst>
          <pc:docMk/>
          <pc:sldMk cId="812674857" sldId="306"/>
        </pc:sldMkLst>
        <pc:spChg chg="add mod">
          <ac:chgData name="Thomas Stensitzki" userId="75cafe6b-2f2a-469b-85c4-eec3b9c972ba" providerId="ADAL" clId="{426B5353-CC1A-46F7-AE4E-AA86B8F4A37A}" dt="2023-03-21T13:18:34.587" v="2600" actId="14100"/>
          <ac:spMkLst>
            <pc:docMk/>
            <pc:sldMk cId="812674857" sldId="306"/>
            <ac:spMk id="2" creationId="{10359D8F-CBB1-D419-B487-D61476022BA6}"/>
          </ac:spMkLst>
        </pc:spChg>
        <pc:spChg chg="del mod ord">
          <ac:chgData name="Thomas Stensitzki" userId="75cafe6b-2f2a-469b-85c4-eec3b9c972ba" providerId="ADAL" clId="{426B5353-CC1A-46F7-AE4E-AA86B8F4A37A}" dt="2023-03-20T16:34:25.159" v="952" actId="700"/>
          <ac:spMkLst>
            <pc:docMk/>
            <pc:sldMk cId="812674857" sldId="306"/>
            <ac:spMk id="2" creationId="{85428D34-57DB-3F57-A037-41CB74691E83}"/>
          </ac:spMkLst>
        </pc:spChg>
        <pc:spChg chg="del">
          <ac:chgData name="Thomas Stensitzki" userId="75cafe6b-2f2a-469b-85c4-eec3b9c972ba" providerId="ADAL" clId="{426B5353-CC1A-46F7-AE4E-AA86B8F4A37A}" dt="2023-03-20T16:34:25.159" v="952" actId="700"/>
          <ac:spMkLst>
            <pc:docMk/>
            <pc:sldMk cId="812674857" sldId="306"/>
            <ac:spMk id="3" creationId="{2EA4F1F5-350E-DAE9-331E-BE869C70E37F}"/>
          </ac:spMkLst>
        </pc:spChg>
        <pc:spChg chg="add mod ord">
          <ac:chgData name="Thomas Stensitzki" userId="75cafe6b-2f2a-469b-85c4-eec3b9c972ba" providerId="ADAL" clId="{426B5353-CC1A-46F7-AE4E-AA86B8F4A37A}" dt="2023-03-20T16:34:32.054" v="971" actId="20577"/>
          <ac:spMkLst>
            <pc:docMk/>
            <pc:sldMk cId="812674857" sldId="306"/>
            <ac:spMk id="4" creationId="{24CF2DB0-04B9-963D-D12D-C8FD55502113}"/>
          </ac:spMkLst>
        </pc:spChg>
        <pc:picChg chg="add mod">
          <ac:chgData name="Thomas Stensitzki" userId="75cafe6b-2f2a-469b-85c4-eec3b9c972ba" providerId="ADAL" clId="{426B5353-CC1A-46F7-AE4E-AA86B8F4A37A}" dt="2023-03-20T16:34:49.452" v="974" actId="1076"/>
          <ac:picMkLst>
            <pc:docMk/>
            <pc:sldMk cId="812674857" sldId="306"/>
            <ac:picMk id="5" creationId="{2B87A386-87FA-AB49-A822-FB6EB7FA63EB}"/>
          </ac:picMkLst>
        </pc:picChg>
      </pc:sldChg>
      <pc:sldChg chg="addSp modSp new mod modTransition modAnim">
        <pc:chgData name="Thomas Stensitzki" userId="75cafe6b-2f2a-469b-85c4-eec3b9c972ba" providerId="ADAL" clId="{426B5353-CC1A-46F7-AE4E-AA86B8F4A37A}" dt="2023-03-21T13:19:15.798" v="2603" actId="14100"/>
        <pc:sldMkLst>
          <pc:docMk/>
          <pc:sldMk cId="3940489596" sldId="307"/>
        </pc:sldMkLst>
        <pc:spChg chg="mod">
          <ac:chgData name="Thomas Stensitzki" userId="75cafe6b-2f2a-469b-85c4-eec3b9c972ba" providerId="ADAL" clId="{426B5353-CC1A-46F7-AE4E-AA86B8F4A37A}" dt="2023-03-20T16:35:38.566" v="1017" actId="20577"/>
          <ac:spMkLst>
            <pc:docMk/>
            <pc:sldMk cId="3940489596" sldId="307"/>
            <ac:spMk id="2" creationId="{D60CAE9E-04E5-9933-C197-1375E0003328}"/>
          </ac:spMkLst>
        </pc:spChg>
        <pc:spChg chg="add mod">
          <ac:chgData name="Thomas Stensitzki" userId="75cafe6b-2f2a-469b-85c4-eec3b9c972ba" providerId="ADAL" clId="{426B5353-CC1A-46F7-AE4E-AA86B8F4A37A}" dt="2023-03-21T13:19:15.798" v="2603" actId="14100"/>
          <ac:spMkLst>
            <pc:docMk/>
            <pc:sldMk cId="3940489596" sldId="307"/>
            <ac:spMk id="4" creationId="{4007DFEA-7A0D-2B6D-EFBD-0913BE5A85B7}"/>
          </ac:spMkLst>
        </pc:spChg>
        <pc:picChg chg="add mod">
          <ac:chgData name="Thomas Stensitzki" userId="75cafe6b-2f2a-469b-85c4-eec3b9c972ba" providerId="ADAL" clId="{426B5353-CC1A-46F7-AE4E-AA86B8F4A37A}" dt="2023-03-20T16:35:53.345" v="1021" actId="1076"/>
          <ac:picMkLst>
            <pc:docMk/>
            <pc:sldMk cId="3940489596" sldId="307"/>
            <ac:picMk id="3" creationId="{718E8870-9C83-C43E-6F44-337784DAEA28}"/>
          </ac:picMkLst>
        </pc:picChg>
      </pc:sldChg>
      <pc:sldChg chg="addSp modSp new mod modTransition modAnim">
        <pc:chgData name="Thomas Stensitzki" userId="75cafe6b-2f2a-469b-85c4-eec3b9c972ba" providerId="ADAL" clId="{426B5353-CC1A-46F7-AE4E-AA86B8F4A37A}" dt="2023-03-21T15:24:42.727" v="3416" actId="404"/>
        <pc:sldMkLst>
          <pc:docMk/>
          <pc:sldMk cId="3983061710" sldId="308"/>
        </pc:sldMkLst>
        <pc:spChg chg="mod">
          <ac:chgData name="Thomas Stensitzki" userId="75cafe6b-2f2a-469b-85c4-eec3b9c972ba" providerId="ADAL" clId="{426B5353-CC1A-46F7-AE4E-AA86B8F4A37A}" dt="2023-03-20T16:41:21.287" v="1054" actId="20577"/>
          <ac:spMkLst>
            <pc:docMk/>
            <pc:sldMk cId="3983061710" sldId="308"/>
            <ac:spMk id="2" creationId="{01B97374-499A-7147-9ED7-2E6F9EA903BD}"/>
          </ac:spMkLst>
        </pc:spChg>
        <pc:spChg chg="add mod">
          <ac:chgData name="Thomas Stensitzki" userId="75cafe6b-2f2a-469b-85c4-eec3b9c972ba" providerId="ADAL" clId="{426B5353-CC1A-46F7-AE4E-AA86B8F4A37A}" dt="2023-03-20T16:42:01.282" v="1055"/>
          <ac:spMkLst>
            <pc:docMk/>
            <pc:sldMk cId="3983061710" sldId="308"/>
            <ac:spMk id="3" creationId="{04C96BAE-6318-04BB-20B0-11C4933702E2}"/>
          </ac:spMkLst>
        </pc:spChg>
        <pc:spChg chg="add mod">
          <ac:chgData name="Thomas Stensitzki" userId="75cafe6b-2f2a-469b-85c4-eec3b9c972ba" providerId="ADAL" clId="{426B5353-CC1A-46F7-AE4E-AA86B8F4A37A}" dt="2023-03-20T16:42:01.282" v="1055"/>
          <ac:spMkLst>
            <pc:docMk/>
            <pc:sldMk cId="3983061710" sldId="308"/>
            <ac:spMk id="4" creationId="{87945B53-2ED5-6EB6-F492-FF7A14B7B340}"/>
          </ac:spMkLst>
        </pc:spChg>
        <pc:spChg chg="add mod">
          <ac:chgData name="Thomas Stensitzki" userId="75cafe6b-2f2a-469b-85c4-eec3b9c972ba" providerId="ADAL" clId="{426B5353-CC1A-46F7-AE4E-AA86B8F4A37A}" dt="2023-03-20T16:46:06.212" v="1156" actId="242"/>
          <ac:spMkLst>
            <pc:docMk/>
            <pc:sldMk cId="3983061710" sldId="308"/>
            <ac:spMk id="5" creationId="{BF5889D0-660A-2CD8-719E-C27DF474805C}"/>
          </ac:spMkLst>
        </pc:spChg>
        <pc:spChg chg="add mod">
          <ac:chgData name="Thomas Stensitzki" userId="75cafe6b-2f2a-469b-85c4-eec3b9c972ba" providerId="ADAL" clId="{426B5353-CC1A-46F7-AE4E-AA86B8F4A37A}" dt="2023-03-20T16:47:24.527" v="1204" actId="14100"/>
          <ac:spMkLst>
            <pc:docMk/>
            <pc:sldMk cId="3983061710" sldId="308"/>
            <ac:spMk id="6" creationId="{56C889EA-5927-DBB3-9A4B-C64935AF6287}"/>
          </ac:spMkLst>
        </pc:spChg>
        <pc:spChg chg="add mod">
          <ac:chgData name="Thomas Stensitzki" userId="75cafe6b-2f2a-469b-85c4-eec3b9c972ba" providerId="ADAL" clId="{426B5353-CC1A-46F7-AE4E-AA86B8F4A37A}" dt="2023-03-20T16:47:20.724" v="1203" actId="14100"/>
          <ac:spMkLst>
            <pc:docMk/>
            <pc:sldMk cId="3983061710" sldId="308"/>
            <ac:spMk id="7" creationId="{914B4132-E0FF-8BE8-145C-744A9CAEE1A8}"/>
          </ac:spMkLst>
        </pc:spChg>
        <pc:spChg chg="add mod">
          <ac:chgData name="Thomas Stensitzki" userId="75cafe6b-2f2a-469b-85c4-eec3b9c972ba" providerId="ADAL" clId="{426B5353-CC1A-46F7-AE4E-AA86B8F4A37A}" dt="2023-03-20T16:46:30.421" v="1174" actId="242"/>
          <ac:spMkLst>
            <pc:docMk/>
            <pc:sldMk cId="3983061710" sldId="308"/>
            <ac:spMk id="8" creationId="{D87D9C96-8B9F-AFEA-6C87-E0B2C4569D9C}"/>
          </ac:spMkLst>
        </pc:spChg>
        <pc:spChg chg="add mod">
          <ac:chgData name="Thomas Stensitzki" userId="75cafe6b-2f2a-469b-85c4-eec3b9c972ba" providerId="ADAL" clId="{426B5353-CC1A-46F7-AE4E-AA86B8F4A37A}" dt="2023-03-20T16:46:30.421" v="1174" actId="242"/>
          <ac:spMkLst>
            <pc:docMk/>
            <pc:sldMk cId="3983061710" sldId="308"/>
            <ac:spMk id="9" creationId="{BAA74E6F-53C7-B9DD-AED2-100A47A29DF0}"/>
          </ac:spMkLst>
        </pc:spChg>
        <pc:spChg chg="add mod">
          <ac:chgData name="Thomas Stensitzki" userId="75cafe6b-2f2a-469b-85c4-eec3b9c972ba" providerId="ADAL" clId="{426B5353-CC1A-46F7-AE4E-AA86B8F4A37A}" dt="2023-03-20T16:46:40.360" v="1176" actId="14100"/>
          <ac:spMkLst>
            <pc:docMk/>
            <pc:sldMk cId="3983061710" sldId="308"/>
            <ac:spMk id="10" creationId="{452E6DF8-29C3-3C58-2D5C-D12128DD8433}"/>
          </ac:spMkLst>
        </pc:spChg>
        <pc:spChg chg="add mod">
          <ac:chgData name="Thomas Stensitzki" userId="75cafe6b-2f2a-469b-85c4-eec3b9c972ba" providerId="ADAL" clId="{426B5353-CC1A-46F7-AE4E-AA86B8F4A37A}" dt="2023-03-20T16:46:55.315" v="1184" actId="20577"/>
          <ac:spMkLst>
            <pc:docMk/>
            <pc:sldMk cId="3983061710" sldId="308"/>
            <ac:spMk id="11" creationId="{6121887B-2036-2741-2C88-5C429602BEB8}"/>
          </ac:spMkLst>
        </pc:spChg>
        <pc:spChg chg="add mod">
          <ac:chgData name="Thomas Stensitzki" userId="75cafe6b-2f2a-469b-85c4-eec3b9c972ba" providerId="ADAL" clId="{426B5353-CC1A-46F7-AE4E-AA86B8F4A37A}" dt="2023-03-20T16:47:15.055" v="1202" actId="20577"/>
          <ac:spMkLst>
            <pc:docMk/>
            <pc:sldMk cId="3983061710" sldId="308"/>
            <ac:spMk id="12" creationId="{18D31E09-17D0-6943-A947-D6E78DE4CC79}"/>
          </ac:spMkLst>
        </pc:spChg>
        <pc:spChg chg="add mod">
          <ac:chgData name="Thomas Stensitzki" userId="75cafe6b-2f2a-469b-85c4-eec3b9c972ba" providerId="ADAL" clId="{426B5353-CC1A-46F7-AE4E-AA86B8F4A37A}" dt="2023-03-21T15:24:42.727" v="3416" actId="404"/>
          <ac:spMkLst>
            <pc:docMk/>
            <pc:sldMk cId="3983061710" sldId="308"/>
            <ac:spMk id="13" creationId="{4041F071-3D10-E946-7C80-33C1252D0E0E}"/>
          </ac:spMkLst>
        </pc:spChg>
        <pc:spChg chg="add mod">
          <ac:chgData name="Thomas Stensitzki" userId="75cafe6b-2f2a-469b-85c4-eec3b9c972ba" providerId="ADAL" clId="{426B5353-CC1A-46F7-AE4E-AA86B8F4A37A}" dt="2023-03-20T16:50:22.641" v="1234" actId="1582"/>
          <ac:spMkLst>
            <pc:docMk/>
            <pc:sldMk cId="3983061710" sldId="308"/>
            <ac:spMk id="15" creationId="{E104E191-0291-D532-10F7-27118D2B0E9A}"/>
          </ac:spMkLst>
        </pc:spChg>
        <pc:spChg chg="add mod">
          <ac:chgData name="Thomas Stensitzki" userId="75cafe6b-2f2a-469b-85c4-eec3b9c972ba" providerId="ADAL" clId="{426B5353-CC1A-46F7-AE4E-AA86B8F4A37A}" dt="2023-03-20T16:49:39.362" v="1223" actId="1582"/>
          <ac:spMkLst>
            <pc:docMk/>
            <pc:sldMk cId="3983061710" sldId="308"/>
            <ac:spMk id="16" creationId="{A195892B-8EBD-5C03-938B-64D36F1C17E5}"/>
          </ac:spMkLst>
        </pc:spChg>
        <pc:picChg chg="add mod">
          <ac:chgData name="Thomas Stensitzki" userId="75cafe6b-2f2a-469b-85c4-eec3b9c972ba" providerId="ADAL" clId="{426B5353-CC1A-46F7-AE4E-AA86B8F4A37A}" dt="2023-03-20T16:49:04.011" v="1216" actId="1076"/>
          <ac:picMkLst>
            <pc:docMk/>
            <pc:sldMk cId="3983061710" sldId="308"/>
            <ac:picMk id="14" creationId="{1F107ACC-52AC-85EA-144F-8D688A246658}"/>
          </ac:picMkLst>
        </pc:picChg>
        <pc:cxnChg chg="add mod">
          <ac:chgData name="Thomas Stensitzki" userId="75cafe6b-2f2a-469b-85c4-eec3b9c972ba" providerId="ADAL" clId="{426B5353-CC1A-46F7-AE4E-AA86B8F4A37A}" dt="2023-03-20T16:50:13.386" v="1233" actId="208"/>
          <ac:cxnSpMkLst>
            <pc:docMk/>
            <pc:sldMk cId="3983061710" sldId="308"/>
            <ac:cxnSpMk id="17" creationId="{74D96B2E-96AB-C3F4-EE4D-11F66DA67434}"/>
          </ac:cxnSpMkLst>
        </pc:cxnChg>
      </pc:sldChg>
      <pc:sldChg chg="addSp delSp modSp add mod modTransition modAnim">
        <pc:chgData name="Thomas Stensitzki" userId="75cafe6b-2f2a-469b-85c4-eec3b9c972ba" providerId="ADAL" clId="{426B5353-CC1A-46F7-AE4E-AA86B8F4A37A}" dt="2023-03-21T13:19:46.173" v="2611" actId="14100"/>
        <pc:sldMkLst>
          <pc:docMk/>
          <pc:sldMk cId="2472229152" sldId="309"/>
        </pc:sldMkLst>
        <pc:spChg chg="add mod">
          <ac:chgData name="Thomas Stensitzki" userId="75cafe6b-2f2a-469b-85c4-eec3b9c972ba" providerId="ADAL" clId="{426B5353-CC1A-46F7-AE4E-AA86B8F4A37A}" dt="2023-03-21T13:19:46.173" v="2611" actId="14100"/>
          <ac:spMkLst>
            <pc:docMk/>
            <pc:sldMk cId="2472229152" sldId="309"/>
            <ac:spMk id="3" creationId="{35FF65B5-F3B4-D2C1-2125-3052B77F63A2}"/>
          </ac:spMkLst>
        </pc:spChg>
        <pc:picChg chg="del">
          <ac:chgData name="Thomas Stensitzki" userId="75cafe6b-2f2a-469b-85c4-eec3b9c972ba" providerId="ADAL" clId="{426B5353-CC1A-46F7-AE4E-AA86B8F4A37A}" dt="2023-03-20T16:36:23.508" v="1024" actId="478"/>
          <ac:picMkLst>
            <pc:docMk/>
            <pc:sldMk cId="2472229152" sldId="309"/>
            <ac:picMk id="3" creationId="{718E8870-9C83-C43E-6F44-337784DAEA28}"/>
          </ac:picMkLst>
        </pc:picChg>
        <pc:picChg chg="add mod">
          <ac:chgData name="Thomas Stensitzki" userId="75cafe6b-2f2a-469b-85c4-eec3b9c972ba" providerId="ADAL" clId="{426B5353-CC1A-46F7-AE4E-AA86B8F4A37A}" dt="2023-03-21T13:19:36.090" v="2609" actId="1076"/>
          <ac:picMkLst>
            <pc:docMk/>
            <pc:sldMk cId="2472229152" sldId="309"/>
            <ac:picMk id="4" creationId="{B08F7458-D7C3-5E1B-E8A3-517EEB2CDF09}"/>
          </ac:picMkLst>
        </pc:picChg>
      </pc:sldChg>
      <pc:sldChg chg="addSp delSp modSp add mod modTransition modAnim">
        <pc:chgData name="Thomas Stensitzki" userId="75cafe6b-2f2a-469b-85c4-eec3b9c972ba" providerId="ADAL" clId="{426B5353-CC1A-46F7-AE4E-AA86B8F4A37A}" dt="2023-03-21T13:20:01.204" v="2614" actId="14100"/>
        <pc:sldMkLst>
          <pc:docMk/>
          <pc:sldMk cId="4080117629" sldId="310"/>
        </pc:sldMkLst>
        <pc:spChg chg="add mod">
          <ac:chgData name="Thomas Stensitzki" userId="75cafe6b-2f2a-469b-85c4-eec3b9c972ba" providerId="ADAL" clId="{426B5353-CC1A-46F7-AE4E-AA86B8F4A37A}" dt="2023-03-21T13:20:01.204" v="2614" actId="14100"/>
          <ac:spMkLst>
            <pc:docMk/>
            <pc:sldMk cId="4080117629" sldId="310"/>
            <ac:spMk id="4" creationId="{47A673EF-CBE1-00F2-8563-4B785A0F502E}"/>
          </ac:spMkLst>
        </pc:spChg>
        <pc:picChg chg="add mod">
          <ac:chgData name="Thomas Stensitzki" userId="75cafe6b-2f2a-469b-85c4-eec3b9c972ba" providerId="ADAL" clId="{426B5353-CC1A-46F7-AE4E-AA86B8F4A37A}" dt="2023-03-20T16:40:41.596" v="1033" actId="1440"/>
          <ac:picMkLst>
            <pc:docMk/>
            <pc:sldMk cId="4080117629" sldId="310"/>
            <ac:picMk id="3" creationId="{A1734EF8-7452-6321-1FE0-C878F4A7BAF0}"/>
          </ac:picMkLst>
        </pc:picChg>
        <pc:picChg chg="del">
          <ac:chgData name="Thomas Stensitzki" userId="75cafe6b-2f2a-469b-85c4-eec3b9c972ba" providerId="ADAL" clId="{426B5353-CC1A-46F7-AE4E-AA86B8F4A37A}" dt="2023-03-20T16:40:25.383" v="1029" actId="478"/>
          <ac:picMkLst>
            <pc:docMk/>
            <pc:sldMk cId="4080117629" sldId="310"/>
            <ac:picMk id="4" creationId="{B08F7458-D7C3-5E1B-E8A3-517EEB2CDF09}"/>
          </ac:picMkLst>
        </pc:picChg>
      </pc:sldChg>
      <pc:sldChg chg="addSp delSp modSp add mod modTransition modAnim">
        <pc:chgData name="Thomas Stensitzki" userId="75cafe6b-2f2a-469b-85c4-eec3b9c972ba" providerId="ADAL" clId="{426B5353-CC1A-46F7-AE4E-AA86B8F4A37A}" dt="2023-03-21T15:24:58.238" v="3418" actId="14100"/>
        <pc:sldMkLst>
          <pc:docMk/>
          <pc:sldMk cId="2203320725" sldId="311"/>
        </pc:sldMkLst>
        <pc:spChg chg="mod">
          <ac:chgData name="Thomas Stensitzki" userId="75cafe6b-2f2a-469b-85c4-eec3b9c972ba" providerId="ADAL" clId="{426B5353-CC1A-46F7-AE4E-AA86B8F4A37A}" dt="2023-03-21T07:52:42.445" v="1289" actId="20577"/>
          <ac:spMkLst>
            <pc:docMk/>
            <pc:sldMk cId="2203320725" sldId="311"/>
            <ac:spMk id="2" creationId="{01B97374-499A-7147-9ED7-2E6F9EA903BD}"/>
          </ac:spMkLst>
        </pc:spChg>
        <pc:spChg chg="mod">
          <ac:chgData name="Thomas Stensitzki" userId="75cafe6b-2f2a-469b-85c4-eec3b9c972ba" providerId="ADAL" clId="{426B5353-CC1A-46F7-AE4E-AA86B8F4A37A}" dt="2023-03-21T15:24:58.238" v="3418" actId="14100"/>
          <ac:spMkLst>
            <pc:docMk/>
            <pc:sldMk cId="2203320725" sldId="311"/>
            <ac:spMk id="13" creationId="{4041F071-3D10-E946-7C80-33C1252D0E0E}"/>
          </ac:spMkLst>
        </pc:spChg>
        <pc:spChg chg="mod ord">
          <ac:chgData name="Thomas Stensitzki" userId="75cafe6b-2f2a-469b-85c4-eec3b9c972ba" providerId="ADAL" clId="{426B5353-CC1A-46F7-AE4E-AA86B8F4A37A}" dt="2023-03-21T07:52:34.456" v="1287" actId="1076"/>
          <ac:spMkLst>
            <pc:docMk/>
            <pc:sldMk cId="2203320725" sldId="311"/>
            <ac:spMk id="15" creationId="{E104E191-0291-D532-10F7-27118D2B0E9A}"/>
          </ac:spMkLst>
        </pc:spChg>
        <pc:spChg chg="mod">
          <ac:chgData name="Thomas Stensitzki" userId="75cafe6b-2f2a-469b-85c4-eec3b9c972ba" providerId="ADAL" clId="{426B5353-CC1A-46F7-AE4E-AA86B8F4A37A}" dt="2023-03-21T07:52:13.807" v="1285" actId="14100"/>
          <ac:spMkLst>
            <pc:docMk/>
            <pc:sldMk cId="2203320725" sldId="311"/>
            <ac:spMk id="16" creationId="{A195892B-8EBD-5C03-938B-64D36F1C17E5}"/>
          </ac:spMkLst>
        </pc:spChg>
        <pc:picChg chg="del">
          <ac:chgData name="Thomas Stensitzki" userId="75cafe6b-2f2a-469b-85c4-eec3b9c972ba" providerId="ADAL" clId="{426B5353-CC1A-46F7-AE4E-AA86B8F4A37A}" dt="2023-03-21T07:51:11.389" v="1272" actId="478"/>
          <ac:picMkLst>
            <pc:docMk/>
            <pc:sldMk cId="2203320725" sldId="311"/>
            <ac:picMk id="14" creationId="{1F107ACC-52AC-85EA-144F-8D688A246658}"/>
          </ac:picMkLst>
        </pc:picChg>
        <pc:picChg chg="add mod">
          <ac:chgData name="Thomas Stensitzki" userId="75cafe6b-2f2a-469b-85c4-eec3b9c972ba" providerId="ADAL" clId="{426B5353-CC1A-46F7-AE4E-AA86B8F4A37A}" dt="2023-03-21T07:52:29.819" v="1286" actId="1076"/>
          <ac:picMkLst>
            <pc:docMk/>
            <pc:sldMk cId="2203320725" sldId="311"/>
            <ac:picMk id="18" creationId="{86BB9709-BB3B-964B-6807-3CEC0C333A54}"/>
          </ac:picMkLst>
        </pc:picChg>
        <pc:cxnChg chg="mod">
          <ac:chgData name="Thomas Stensitzki" userId="75cafe6b-2f2a-469b-85c4-eec3b9c972ba" providerId="ADAL" clId="{426B5353-CC1A-46F7-AE4E-AA86B8F4A37A}" dt="2023-03-21T07:52:38.414" v="1288" actId="14100"/>
          <ac:cxnSpMkLst>
            <pc:docMk/>
            <pc:sldMk cId="2203320725" sldId="311"/>
            <ac:cxnSpMk id="17" creationId="{74D96B2E-96AB-C3F4-EE4D-11F66DA67434}"/>
          </ac:cxnSpMkLst>
        </pc:cxnChg>
      </pc:sldChg>
      <pc:sldChg chg="addSp delSp modSp add mod modTransition modAnim">
        <pc:chgData name="Thomas Stensitzki" userId="75cafe6b-2f2a-469b-85c4-eec3b9c972ba" providerId="ADAL" clId="{426B5353-CC1A-46F7-AE4E-AA86B8F4A37A}" dt="2023-03-21T15:27:36.266" v="3432"/>
        <pc:sldMkLst>
          <pc:docMk/>
          <pc:sldMk cId="3625000776" sldId="312"/>
        </pc:sldMkLst>
        <pc:spChg chg="mod">
          <ac:chgData name="Thomas Stensitzki" userId="75cafe6b-2f2a-469b-85c4-eec3b9c972ba" providerId="ADAL" clId="{426B5353-CC1A-46F7-AE4E-AA86B8F4A37A}" dt="2023-03-21T15:25:03.705" v="3419" actId="404"/>
          <ac:spMkLst>
            <pc:docMk/>
            <pc:sldMk cId="3625000776" sldId="312"/>
            <ac:spMk id="13" creationId="{4041F071-3D10-E946-7C80-33C1252D0E0E}"/>
          </ac:spMkLst>
        </pc:spChg>
        <pc:spChg chg="mod ord">
          <ac:chgData name="Thomas Stensitzki" userId="75cafe6b-2f2a-469b-85c4-eec3b9c972ba" providerId="ADAL" clId="{426B5353-CC1A-46F7-AE4E-AA86B8F4A37A}" dt="2023-03-21T07:57:18.154" v="1337" actId="14100"/>
          <ac:spMkLst>
            <pc:docMk/>
            <pc:sldMk cId="3625000776" sldId="312"/>
            <ac:spMk id="15" creationId="{E104E191-0291-D532-10F7-27118D2B0E9A}"/>
          </ac:spMkLst>
        </pc:spChg>
        <pc:spChg chg="mod">
          <ac:chgData name="Thomas Stensitzki" userId="75cafe6b-2f2a-469b-85c4-eec3b9c972ba" providerId="ADAL" clId="{426B5353-CC1A-46F7-AE4E-AA86B8F4A37A}" dt="2023-03-21T07:56:27.705" v="1324" actId="14100"/>
          <ac:spMkLst>
            <pc:docMk/>
            <pc:sldMk cId="3625000776" sldId="312"/>
            <ac:spMk id="16" creationId="{A195892B-8EBD-5C03-938B-64D36F1C17E5}"/>
          </ac:spMkLst>
        </pc:spChg>
        <pc:spChg chg="add mod">
          <ac:chgData name="Thomas Stensitzki" userId="75cafe6b-2f2a-469b-85c4-eec3b9c972ba" providerId="ADAL" clId="{426B5353-CC1A-46F7-AE4E-AA86B8F4A37A}" dt="2023-03-21T07:56:36.208" v="1330" actId="1038"/>
          <ac:spMkLst>
            <pc:docMk/>
            <pc:sldMk cId="3625000776" sldId="312"/>
            <ac:spMk id="19" creationId="{7124A064-B893-94B0-EA3C-451FF24FCCF2}"/>
          </ac:spMkLst>
        </pc:spChg>
        <pc:spChg chg="add mod">
          <ac:chgData name="Thomas Stensitzki" userId="75cafe6b-2f2a-469b-85c4-eec3b9c972ba" providerId="ADAL" clId="{426B5353-CC1A-46F7-AE4E-AA86B8F4A37A}" dt="2023-03-21T07:56:46.254" v="1332" actId="1076"/>
          <ac:spMkLst>
            <pc:docMk/>
            <pc:sldMk cId="3625000776" sldId="312"/>
            <ac:spMk id="20" creationId="{1EB5AAC6-40E8-79FD-2D8C-4936526A1BF9}"/>
          </ac:spMkLst>
        </pc:spChg>
        <pc:spChg chg="add mod">
          <ac:chgData name="Thomas Stensitzki" userId="75cafe6b-2f2a-469b-85c4-eec3b9c972ba" providerId="ADAL" clId="{426B5353-CC1A-46F7-AE4E-AA86B8F4A37A}" dt="2023-03-21T07:57:25.406" v="1339" actId="1076"/>
          <ac:spMkLst>
            <pc:docMk/>
            <pc:sldMk cId="3625000776" sldId="312"/>
            <ac:spMk id="24" creationId="{15320583-6750-0D8A-6BDF-EE9410786154}"/>
          </ac:spMkLst>
        </pc:spChg>
        <pc:spChg chg="add mod">
          <ac:chgData name="Thomas Stensitzki" userId="75cafe6b-2f2a-469b-85c4-eec3b9c972ba" providerId="ADAL" clId="{426B5353-CC1A-46F7-AE4E-AA86B8F4A37A}" dt="2023-03-21T07:57:37.504" v="1343" actId="1076"/>
          <ac:spMkLst>
            <pc:docMk/>
            <pc:sldMk cId="3625000776" sldId="312"/>
            <ac:spMk id="25" creationId="{1FB40951-68C6-AB10-A308-38D43AD41DE7}"/>
          </ac:spMkLst>
        </pc:spChg>
        <pc:picChg chg="add mod">
          <ac:chgData name="Thomas Stensitzki" userId="75cafe6b-2f2a-469b-85c4-eec3b9c972ba" providerId="ADAL" clId="{426B5353-CC1A-46F7-AE4E-AA86B8F4A37A}" dt="2023-03-21T07:57:29.696" v="1342" actId="1076"/>
          <ac:picMkLst>
            <pc:docMk/>
            <pc:sldMk cId="3625000776" sldId="312"/>
            <ac:picMk id="14" creationId="{3035EBD5-DBCA-C241-F4A8-91DC3C73953E}"/>
          </ac:picMkLst>
        </pc:picChg>
        <pc:picChg chg="del">
          <ac:chgData name="Thomas Stensitzki" userId="75cafe6b-2f2a-469b-85c4-eec3b9c972ba" providerId="ADAL" clId="{426B5353-CC1A-46F7-AE4E-AA86B8F4A37A}" dt="2023-03-21T07:55:09.101" v="1291" actId="478"/>
          <ac:picMkLst>
            <pc:docMk/>
            <pc:sldMk cId="3625000776" sldId="312"/>
            <ac:picMk id="18" creationId="{86BB9709-BB3B-964B-6807-3CEC0C333A54}"/>
          </ac:picMkLst>
        </pc:picChg>
        <pc:cxnChg chg="mod">
          <ac:chgData name="Thomas Stensitzki" userId="75cafe6b-2f2a-469b-85c4-eec3b9c972ba" providerId="ADAL" clId="{426B5353-CC1A-46F7-AE4E-AA86B8F4A37A}" dt="2023-03-21T07:57:18.154" v="1337" actId="14100"/>
          <ac:cxnSpMkLst>
            <pc:docMk/>
            <pc:sldMk cId="3625000776" sldId="312"/>
            <ac:cxnSpMk id="17" creationId="{74D96B2E-96AB-C3F4-EE4D-11F66DA67434}"/>
          </ac:cxnSpMkLst>
        </pc:cxnChg>
        <pc:cxnChg chg="add mod">
          <ac:chgData name="Thomas Stensitzki" userId="75cafe6b-2f2a-469b-85c4-eec3b9c972ba" providerId="ADAL" clId="{426B5353-CC1A-46F7-AE4E-AA86B8F4A37A}" dt="2023-03-21T07:57:45.153" v="1346" actId="14100"/>
          <ac:cxnSpMkLst>
            <pc:docMk/>
            <pc:sldMk cId="3625000776" sldId="312"/>
            <ac:cxnSpMk id="26" creationId="{047D2F28-0163-4985-25D8-EEA4ACA6BCDE}"/>
          </ac:cxnSpMkLst>
        </pc:cxnChg>
        <pc:cxnChg chg="add mod">
          <ac:chgData name="Thomas Stensitzki" userId="75cafe6b-2f2a-469b-85c4-eec3b9c972ba" providerId="ADAL" clId="{426B5353-CC1A-46F7-AE4E-AA86B8F4A37A}" dt="2023-03-21T07:57:51.482" v="1349" actId="14100"/>
          <ac:cxnSpMkLst>
            <pc:docMk/>
            <pc:sldMk cId="3625000776" sldId="312"/>
            <ac:cxnSpMk id="29" creationId="{BCA24976-70EB-C928-5B54-33BE977679DC}"/>
          </ac:cxnSpMkLst>
        </pc:cxnChg>
      </pc:sldChg>
      <pc:sldChg chg="modSp add mod ord modTransition">
        <pc:chgData name="Thomas Stensitzki" userId="75cafe6b-2f2a-469b-85c4-eec3b9c972ba" providerId="ADAL" clId="{426B5353-CC1A-46F7-AE4E-AA86B8F4A37A}" dt="2023-03-21T13:20:15.237" v="2625" actId="20577"/>
        <pc:sldMkLst>
          <pc:docMk/>
          <pc:sldMk cId="168038834" sldId="313"/>
        </pc:sldMkLst>
        <pc:spChg chg="mod">
          <ac:chgData name="Thomas Stensitzki" userId="75cafe6b-2f2a-469b-85c4-eec3b9c972ba" providerId="ADAL" clId="{426B5353-CC1A-46F7-AE4E-AA86B8F4A37A}" dt="2023-03-21T13:20:15.237" v="2625" actId="20577"/>
          <ac:spMkLst>
            <pc:docMk/>
            <pc:sldMk cId="168038834" sldId="313"/>
            <ac:spMk id="4" creationId="{70E8EAA7-76C4-4D2B-81CE-57CA4627D39E}"/>
          </ac:spMkLst>
        </pc:spChg>
      </pc:sldChg>
      <pc:sldChg chg="addSp delSp modSp new mod modTransition modClrScheme modAnim chgLayout">
        <pc:chgData name="Thomas Stensitzki" userId="75cafe6b-2f2a-469b-85c4-eec3b9c972ba" providerId="ADAL" clId="{426B5353-CC1A-46F7-AE4E-AA86B8F4A37A}" dt="2023-03-27T16:28:33.695" v="3653" actId="113"/>
        <pc:sldMkLst>
          <pc:docMk/>
          <pc:sldMk cId="1466251546" sldId="314"/>
        </pc:sldMkLst>
        <pc:spChg chg="del mod ord">
          <ac:chgData name="Thomas Stensitzki" userId="75cafe6b-2f2a-469b-85c4-eec3b9c972ba" providerId="ADAL" clId="{426B5353-CC1A-46F7-AE4E-AA86B8F4A37A}" dt="2023-03-21T08:17:04.420" v="1372" actId="700"/>
          <ac:spMkLst>
            <pc:docMk/>
            <pc:sldMk cId="1466251546" sldId="314"/>
            <ac:spMk id="2" creationId="{12E82AC9-CFBF-E0E4-0A3B-B3253FD53632}"/>
          </ac:spMkLst>
        </pc:spChg>
        <pc:spChg chg="del mod ord">
          <ac:chgData name="Thomas Stensitzki" userId="75cafe6b-2f2a-469b-85c4-eec3b9c972ba" providerId="ADAL" clId="{426B5353-CC1A-46F7-AE4E-AA86B8F4A37A}" dt="2023-03-21T08:17:04.420" v="1372" actId="700"/>
          <ac:spMkLst>
            <pc:docMk/>
            <pc:sldMk cId="1466251546" sldId="314"/>
            <ac:spMk id="3" creationId="{2A4A885C-4C99-FC6A-86D8-B8630A55B0E5}"/>
          </ac:spMkLst>
        </pc:spChg>
        <pc:spChg chg="add mod ord">
          <ac:chgData name="Thomas Stensitzki" userId="75cafe6b-2f2a-469b-85c4-eec3b9c972ba" providerId="ADAL" clId="{426B5353-CC1A-46F7-AE4E-AA86B8F4A37A}" dt="2023-03-21T08:17:27.317" v="1418" actId="20577"/>
          <ac:spMkLst>
            <pc:docMk/>
            <pc:sldMk cId="1466251546" sldId="314"/>
            <ac:spMk id="4" creationId="{460E18C0-014C-89F3-B41B-25F43E144D23}"/>
          </ac:spMkLst>
        </pc:spChg>
        <pc:spChg chg="add mod ord">
          <ac:chgData name="Thomas Stensitzki" userId="75cafe6b-2f2a-469b-85c4-eec3b9c972ba" providerId="ADAL" clId="{426B5353-CC1A-46F7-AE4E-AA86B8F4A37A}" dt="2023-03-27T16:28:33.695" v="3653" actId="113"/>
          <ac:spMkLst>
            <pc:docMk/>
            <pc:sldMk cId="1466251546" sldId="314"/>
            <ac:spMk id="5" creationId="{6A89AA17-FB31-46D9-6734-7390C3EE9180}"/>
          </ac:spMkLst>
        </pc:spChg>
      </pc:sldChg>
      <pc:sldChg chg="addSp delSp modSp new mod modTransition">
        <pc:chgData name="Thomas Stensitzki" userId="75cafe6b-2f2a-469b-85c4-eec3b9c972ba" providerId="ADAL" clId="{426B5353-CC1A-46F7-AE4E-AA86B8F4A37A}" dt="2023-03-21T12:38:48.750" v="2421"/>
        <pc:sldMkLst>
          <pc:docMk/>
          <pc:sldMk cId="2491302772" sldId="315"/>
        </pc:sldMkLst>
        <pc:spChg chg="mod">
          <ac:chgData name="Thomas Stensitzki" userId="75cafe6b-2f2a-469b-85c4-eec3b9c972ba" providerId="ADAL" clId="{426B5353-CC1A-46F7-AE4E-AA86B8F4A37A}" dt="2023-03-21T08:43:18.036" v="1767" actId="6549"/>
          <ac:spMkLst>
            <pc:docMk/>
            <pc:sldMk cId="2491302772" sldId="315"/>
            <ac:spMk id="2" creationId="{E74FAB37-A9DA-F97A-762B-295E60461DE1}"/>
          </ac:spMkLst>
        </pc:spChg>
        <pc:spChg chg="del">
          <ac:chgData name="Thomas Stensitzki" userId="75cafe6b-2f2a-469b-85c4-eec3b9c972ba" providerId="ADAL" clId="{426B5353-CC1A-46F7-AE4E-AA86B8F4A37A}" dt="2023-03-21T08:54:50.634" v="1768" actId="478"/>
          <ac:spMkLst>
            <pc:docMk/>
            <pc:sldMk cId="2491302772" sldId="315"/>
            <ac:spMk id="3" creationId="{6FBBFF8A-FCD3-D7B6-5481-1BB049B88562}"/>
          </ac:spMkLst>
        </pc:spChg>
        <pc:picChg chg="add mod">
          <ac:chgData name="Thomas Stensitzki" userId="75cafe6b-2f2a-469b-85c4-eec3b9c972ba" providerId="ADAL" clId="{426B5353-CC1A-46F7-AE4E-AA86B8F4A37A}" dt="2023-03-21T08:55:04.466" v="1771" actId="14100"/>
          <ac:picMkLst>
            <pc:docMk/>
            <pc:sldMk cId="2491302772" sldId="315"/>
            <ac:picMk id="4" creationId="{B1B018A1-4CB8-41D5-4EDF-9CDE264D0EAA}"/>
          </ac:picMkLst>
        </pc:picChg>
      </pc:sldChg>
      <pc:sldChg chg="modSp new mod modTransition modAnim">
        <pc:chgData name="Thomas Stensitzki" userId="75cafe6b-2f2a-469b-85c4-eec3b9c972ba" providerId="ADAL" clId="{426B5353-CC1A-46F7-AE4E-AA86B8F4A37A}" dt="2023-03-21T15:35:12.247" v="3519" actId="20577"/>
        <pc:sldMkLst>
          <pc:docMk/>
          <pc:sldMk cId="3040075940" sldId="316"/>
        </pc:sldMkLst>
        <pc:spChg chg="mod">
          <ac:chgData name="Thomas Stensitzki" userId="75cafe6b-2f2a-469b-85c4-eec3b9c972ba" providerId="ADAL" clId="{426B5353-CC1A-46F7-AE4E-AA86B8F4A37A}" dt="2023-03-21T08:55:29.027" v="1808" actId="20577"/>
          <ac:spMkLst>
            <pc:docMk/>
            <pc:sldMk cId="3040075940" sldId="316"/>
            <ac:spMk id="2" creationId="{880A45DC-5C8C-D3E6-1441-B6383708DCA1}"/>
          </ac:spMkLst>
        </pc:spChg>
        <pc:spChg chg="mod">
          <ac:chgData name="Thomas Stensitzki" userId="75cafe6b-2f2a-469b-85c4-eec3b9c972ba" providerId="ADAL" clId="{426B5353-CC1A-46F7-AE4E-AA86B8F4A37A}" dt="2023-03-21T15:35:12.247" v="3519" actId="20577"/>
          <ac:spMkLst>
            <pc:docMk/>
            <pc:sldMk cId="3040075940" sldId="316"/>
            <ac:spMk id="3" creationId="{454565BC-96D4-C695-63DA-93DA695B4A1A}"/>
          </ac:spMkLst>
        </pc:spChg>
      </pc:sldChg>
      <pc:sldChg chg="addSp delSp modSp new mod modTransition">
        <pc:chgData name="Thomas Stensitzki" userId="75cafe6b-2f2a-469b-85c4-eec3b9c972ba" providerId="ADAL" clId="{426B5353-CC1A-46F7-AE4E-AA86B8F4A37A}" dt="2023-03-21T15:35:48.080" v="3538" actId="20577"/>
        <pc:sldMkLst>
          <pc:docMk/>
          <pc:sldMk cId="3513262419" sldId="317"/>
        </pc:sldMkLst>
        <pc:spChg chg="mod">
          <ac:chgData name="Thomas Stensitzki" userId="75cafe6b-2f2a-469b-85c4-eec3b9c972ba" providerId="ADAL" clId="{426B5353-CC1A-46F7-AE4E-AA86B8F4A37A}" dt="2023-03-21T15:35:48.080" v="3538" actId="20577"/>
          <ac:spMkLst>
            <pc:docMk/>
            <pc:sldMk cId="3513262419" sldId="317"/>
            <ac:spMk id="2" creationId="{C52D4AC8-4F12-FC22-E837-0AAC1EB74B04}"/>
          </ac:spMkLst>
        </pc:spChg>
        <pc:spChg chg="del">
          <ac:chgData name="Thomas Stensitzki" userId="75cafe6b-2f2a-469b-85c4-eec3b9c972ba" providerId="ADAL" clId="{426B5353-CC1A-46F7-AE4E-AA86B8F4A37A}" dt="2023-03-21T09:05:35.324" v="1854" actId="478"/>
          <ac:spMkLst>
            <pc:docMk/>
            <pc:sldMk cId="3513262419" sldId="317"/>
            <ac:spMk id="3" creationId="{99A2E97D-88A1-EB76-9994-5370BF141238}"/>
          </ac:spMkLst>
        </pc:spChg>
        <pc:graphicFrameChg chg="add mod modGraphic">
          <ac:chgData name="Thomas Stensitzki" userId="75cafe6b-2f2a-469b-85c4-eec3b9c972ba" providerId="ADAL" clId="{426B5353-CC1A-46F7-AE4E-AA86B8F4A37A}" dt="2023-03-21T09:06:11.949" v="1862" actId="403"/>
          <ac:graphicFrameMkLst>
            <pc:docMk/>
            <pc:sldMk cId="3513262419" sldId="317"/>
            <ac:graphicFrameMk id="4" creationId="{1B07F49A-815D-4A77-7BBE-4A5EB4EB50C4}"/>
          </ac:graphicFrameMkLst>
        </pc:graphicFrameChg>
      </pc:sldChg>
      <pc:sldChg chg="modSp new mod modTransition modAnim">
        <pc:chgData name="Thomas Stensitzki" userId="75cafe6b-2f2a-469b-85c4-eec3b9c972ba" providerId="ADAL" clId="{426B5353-CC1A-46F7-AE4E-AA86B8F4A37A}" dt="2023-03-21T15:36:04.122" v="3539"/>
        <pc:sldMkLst>
          <pc:docMk/>
          <pc:sldMk cId="881195532" sldId="318"/>
        </pc:sldMkLst>
        <pc:spChg chg="mod">
          <ac:chgData name="Thomas Stensitzki" userId="75cafe6b-2f2a-469b-85c4-eec3b9c972ba" providerId="ADAL" clId="{426B5353-CC1A-46F7-AE4E-AA86B8F4A37A}" dt="2023-03-21T09:06:38.807" v="1884" actId="20577"/>
          <ac:spMkLst>
            <pc:docMk/>
            <pc:sldMk cId="881195532" sldId="318"/>
            <ac:spMk id="2" creationId="{E3DDA28E-B774-908C-A285-CD729A3394F1}"/>
          </ac:spMkLst>
        </pc:spChg>
        <pc:spChg chg="mod">
          <ac:chgData name="Thomas Stensitzki" userId="75cafe6b-2f2a-469b-85c4-eec3b9c972ba" providerId="ADAL" clId="{426B5353-CC1A-46F7-AE4E-AA86B8F4A37A}" dt="2023-03-21T09:07:23.242" v="1927" actId="20577"/>
          <ac:spMkLst>
            <pc:docMk/>
            <pc:sldMk cId="881195532" sldId="318"/>
            <ac:spMk id="3" creationId="{5EB14DE9-5D03-3D85-D28E-30A9701D5BFC}"/>
          </ac:spMkLst>
        </pc:spChg>
      </pc:sldChg>
      <pc:sldChg chg="modSp add mod modTransition modAnim">
        <pc:chgData name="Thomas Stensitzki" userId="75cafe6b-2f2a-469b-85c4-eec3b9c972ba" providerId="ADAL" clId="{426B5353-CC1A-46F7-AE4E-AA86B8F4A37A}" dt="2023-03-21T15:36:51.969" v="3562" actId="20577"/>
        <pc:sldMkLst>
          <pc:docMk/>
          <pc:sldMk cId="3031883727" sldId="319"/>
        </pc:sldMkLst>
        <pc:spChg chg="mod">
          <ac:chgData name="Thomas Stensitzki" userId="75cafe6b-2f2a-469b-85c4-eec3b9c972ba" providerId="ADAL" clId="{426B5353-CC1A-46F7-AE4E-AA86B8F4A37A}" dt="2023-03-21T09:07:52.175" v="1962" actId="20577"/>
          <ac:spMkLst>
            <pc:docMk/>
            <pc:sldMk cId="3031883727" sldId="319"/>
            <ac:spMk id="2" creationId="{E3DDA28E-B774-908C-A285-CD729A3394F1}"/>
          </ac:spMkLst>
        </pc:spChg>
        <pc:spChg chg="mod">
          <ac:chgData name="Thomas Stensitzki" userId="75cafe6b-2f2a-469b-85c4-eec3b9c972ba" providerId="ADAL" clId="{426B5353-CC1A-46F7-AE4E-AA86B8F4A37A}" dt="2023-03-21T15:36:51.969" v="3562" actId="20577"/>
          <ac:spMkLst>
            <pc:docMk/>
            <pc:sldMk cId="3031883727" sldId="319"/>
            <ac:spMk id="3" creationId="{5EB14DE9-5D03-3D85-D28E-30A9701D5BFC}"/>
          </ac:spMkLst>
        </pc:spChg>
      </pc:sldChg>
      <pc:sldChg chg="modSp add mod modTransition modAnim">
        <pc:chgData name="Thomas Stensitzki" userId="75cafe6b-2f2a-469b-85c4-eec3b9c972ba" providerId="ADAL" clId="{426B5353-CC1A-46F7-AE4E-AA86B8F4A37A}" dt="2023-03-21T13:23:42.752" v="2718"/>
        <pc:sldMkLst>
          <pc:docMk/>
          <pc:sldMk cId="3056181867" sldId="320"/>
        </pc:sldMkLst>
        <pc:spChg chg="mod">
          <ac:chgData name="Thomas Stensitzki" userId="75cafe6b-2f2a-469b-85c4-eec3b9c972ba" providerId="ADAL" clId="{426B5353-CC1A-46F7-AE4E-AA86B8F4A37A}" dt="2023-03-21T09:17:18.203" v="1968"/>
          <ac:spMkLst>
            <pc:docMk/>
            <pc:sldMk cId="3056181867" sldId="320"/>
            <ac:spMk id="2" creationId="{E3DDA28E-B774-908C-A285-CD729A3394F1}"/>
          </ac:spMkLst>
        </pc:spChg>
        <pc:spChg chg="mod">
          <ac:chgData name="Thomas Stensitzki" userId="75cafe6b-2f2a-469b-85c4-eec3b9c972ba" providerId="ADAL" clId="{426B5353-CC1A-46F7-AE4E-AA86B8F4A37A}" dt="2023-03-21T09:20:01.145" v="1973" actId="113"/>
          <ac:spMkLst>
            <pc:docMk/>
            <pc:sldMk cId="3056181867" sldId="320"/>
            <ac:spMk id="3" creationId="{5EB14DE9-5D03-3D85-D28E-30A9701D5BFC}"/>
          </ac:spMkLst>
        </pc:spChg>
      </pc:sldChg>
      <pc:sldChg chg="modSp new mod modTransition modAnim">
        <pc:chgData name="Thomas Stensitzki" userId="75cafe6b-2f2a-469b-85c4-eec3b9c972ba" providerId="ADAL" clId="{426B5353-CC1A-46F7-AE4E-AA86B8F4A37A}" dt="2023-03-21T13:24:30.653" v="2724"/>
        <pc:sldMkLst>
          <pc:docMk/>
          <pc:sldMk cId="2409816792" sldId="321"/>
        </pc:sldMkLst>
        <pc:spChg chg="mod">
          <ac:chgData name="Thomas Stensitzki" userId="75cafe6b-2f2a-469b-85c4-eec3b9c972ba" providerId="ADAL" clId="{426B5353-CC1A-46F7-AE4E-AA86B8F4A37A}" dt="2023-03-21T09:20:27.539" v="1975"/>
          <ac:spMkLst>
            <pc:docMk/>
            <pc:sldMk cId="2409816792" sldId="321"/>
            <ac:spMk id="2" creationId="{F7A906E5-B2AB-B142-6653-84194618EF6F}"/>
          </ac:spMkLst>
        </pc:spChg>
        <pc:spChg chg="mod">
          <ac:chgData name="Thomas Stensitzki" userId="75cafe6b-2f2a-469b-85c4-eec3b9c972ba" providerId="ADAL" clId="{426B5353-CC1A-46F7-AE4E-AA86B8F4A37A}" dt="2023-03-21T13:24:08.636" v="2722" actId="6549"/>
          <ac:spMkLst>
            <pc:docMk/>
            <pc:sldMk cId="2409816792" sldId="321"/>
            <ac:spMk id="3" creationId="{A77AA88A-6147-8534-6A2C-B94520D3F563}"/>
          </ac:spMkLst>
        </pc:spChg>
      </pc:sldChg>
      <pc:sldChg chg="modSp add mod modTransition modAnim">
        <pc:chgData name="Thomas Stensitzki" userId="75cafe6b-2f2a-469b-85c4-eec3b9c972ba" providerId="ADAL" clId="{426B5353-CC1A-46F7-AE4E-AA86B8F4A37A}" dt="2023-03-21T13:25:13.990" v="2726"/>
        <pc:sldMkLst>
          <pc:docMk/>
          <pc:sldMk cId="718122442" sldId="322"/>
        </pc:sldMkLst>
        <pc:spChg chg="mod">
          <ac:chgData name="Thomas Stensitzki" userId="75cafe6b-2f2a-469b-85c4-eec3b9c972ba" providerId="ADAL" clId="{426B5353-CC1A-46F7-AE4E-AA86B8F4A37A}" dt="2023-03-21T09:21:26.139" v="1990" actId="6549"/>
          <ac:spMkLst>
            <pc:docMk/>
            <pc:sldMk cId="718122442" sldId="322"/>
            <ac:spMk id="2" creationId="{F7A906E5-B2AB-B142-6653-84194618EF6F}"/>
          </ac:spMkLst>
        </pc:spChg>
        <pc:spChg chg="mod">
          <ac:chgData name="Thomas Stensitzki" userId="75cafe6b-2f2a-469b-85c4-eec3b9c972ba" providerId="ADAL" clId="{426B5353-CC1A-46F7-AE4E-AA86B8F4A37A}" dt="2023-03-21T09:22:09.523" v="1996" actId="113"/>
          <ac:spMkLst>
            <pc:docMk/>
            <pc:sldMk cId="718122442" sldId="322"/>
            <ac:spMk id="3" creationId="{A77AA88A-6147-8534-6A2C-B94520D3F563}"/>
          </ac:spMkLst>
        </pc:spChg>
      </pc:sldChg>
      <pc:sldChg chg="modSp add mod modTransition modAnim">
        <pc:chgData name="Thomas Stensitzki" userId="75cafe6b-2f2a-469b-85c4-eec3b9c972ba" providerId="ADAL" clId="{426B5353-CC1A-46F7-AE4E-AA86B8F4A37A}" dt="2023-03-21T13:25:42.243" v="2731"/>
        <pc:sldMkLst>
          <pc:docMk/>
          <pc:sldMk cId="3233061606" sldId="323"/>
        </pc:sldMkLst>
        <pc:spChg chg="mod">
          <ac:chgData name="Thomas Stensitzki" userId="75cafe6b-2f2a-469b-85c4-eec3b9c972ba" providerId="ADAL" clId="{426B5353-CC1A-46F7-AE4E-AA86B8F4A37A}" dt="2023-03-21T09:22:22.329" v="1999" actId="6549"/>
          <ac:spMkLst>
            <pc:docMk/>
            <pc:sldMk cId="3233061606" sldId="323"/>
            <ac:spMk id="2" creationId="{F7A906E5-B2AB-B142-6653-84194618EF6F}"/>
          </ac:spMkLst>
        </pc:spChg>
        <pc:spChg chg="mod">
          <ac:chgData name="Thomas Stensitzki" userId="75cafe6b-2f2a-469b-85c4-eec3b9c972ba" providerId="ADAL" clId="{426B5353-CC1A-46F7-AE4E-AA86B8F4A37A}" dt="2023-03-21T09:25:03.135" v="2012" actId="113"/>
          <ac:spMkLst>
            <pc:docMk/>
            <pc:sldMk cId="3233061606" sldId="323"/>
            <ac:spMk id="3" creationId="{A77AA88A-6147-8534-6A2C-B94520D3F563}"/>
          </ac:spMkLst>
        </pc:spChg>
      </pc:sldChg>
      <pc:sldChg chg="modSp add mod ord modTransition">
        <pc:chgData name="Thomas Stensitzki" userId="75cafe6b-2f2a-469b-85c4-eec3b9c972ba" providerId="ADAL" clId="{426B5353-CC1A-46F7-AE4E-AA86B8F4A37A}" dt="2023-03-21T13:25:56.480" v="2733" actId="20577"/>
        <pc:sldMkLst>
          <pc:docMk/>
          <pc:sldMk cId="2321758477" sldId="324"/>
        </pc:sldMkLst>
        <pc:spChg chg="mod">
          <ac:chgData name="Thomas Stensitzki" userId="75cafe6b-2f2a-469b-85c4-eec3b9c972ba" providerId="ADAL" clId="{426B5353-CC1A-46F7-AE4E-AA86B8F4A37A}" dt="2023-03-21T09:25:45.290" v="2037" actId="20577"/>
          <ac:spMkLst>
            <pc:docMk/>
            <pc:sldMk cId="2321758477" sldId="324"/>
            <ac:spMk id="4" creationId="{70E8EAA7-76C4-4D2B-81CE-57CA4627D39E}"/>
          </ac:spMkLst>
        </pc:spChg>
        <pc:spChg chg="mod">
          <ac:chgData name="Thomas Stensitzki" userId="75cafe6b-2f2a-469b-85c4-eec3b9c972ba" providerId="ADAL" clId="{426B5353-CC1A-46F7-AE4E-AA86B8F4A37A}" dt="2023-03-21T13:25:56.480" v="2733" actId="20577"/>
          <ac:spMkLst>
            <pc:docMk/>
            <pc:sldMk cId="2321758477" sldId="324"/>
            <ac:spMk id="5" creationId="{94140262-613E-47E0-8110-F2C2EDE2EFD9}"/>
          </ac:spMkLst>
        </pc:spChg>
      </pc:sldChg>
      <pc:sldChg chg="addSp delSp modSp new mod modTransition modClrScheme modAnim chgLayout">
        <pc:chgData name="Thomas Stensitzki" userId="75cafe6b-2f2a-469b-85c4-eec3b9c972ba" providerId="ADAL" clId="{426B5353-CC1A-46F7-AE4E-AA86B8F4A37A}" dt="2023-03-21T15:07:26.467" v="2758" actId="20577"/>
        <pc:sldMkLst>
          <pc:docMk/>
          <pc:sldMk cId="810960131" sldId="325"/>
        </pc:sldMkLst>
        <pc:spChg chg="del mod ord">
          <ac:chgData name="Thomas Stensitzki" userId="75cafe6b-2f2a-469b-85c4-eec3b9c972ba" providerId="ADAL" clId="{426B5353-CC1A-46F7-AE4E-AA86B8F4A37A}" dt="2023-03-21T09:26:04.459" v="2039" actId="700"/>
          <ac:spMkLst>
            <pc:docMk/>
            <pc:sldMk cId="810960131" sldId="325"/>
            <ac:spMk id="2" creationId="{8B18C588-710C-AE3C-14A8-AA201CFCA803}"/>
          </ac:spMkLst>
        </pc:spChg>
        <pc:spChg chg="del">
          <ac:chgData name="Thomas Stensitzki" userId="75cafe6b-2f2a-469b-85c4-eec3b9c972ba" providerId="ADAL" clId="{426B5353-CC1A-46F7-AE4E-AA86B8F4A37A}" dt="2023-03-21T09:26:04.459" v="2039" actId="700"/>
          <ac:spMkLst>
            <pc:docMk/>
            <pc:sldMk cId="810960131" sldId="325"/>
            <ac:spMk id="3" creationId="{9C58E011-6E1B-9A31-3881-5230CD3AE094}"/>
          </ac:spMkLst>
        </pc:spChg>
        <pc:spChg chg="add mod ord">
          <ac:chgData name="Thomas Stensitzki" userId="75cafe6b-2f2a-469b-85c4-eec3b9c972ba" providerId="ADAL" clId="{426B5353-CC1A-46F7-AE4E-AA86B8F4A37A}" dt="2023-03-21T09:26:12.050" v="2069" actId="20577"/>
          <ac:spMkLst>
            <pc:docMk/>
            <pc:sldMk cId="810960131" sldId="325"/>
            <ac:spMk id="4" creationId="{7CA0FA89-0B05-91AB-4D1D-A0556D78BB54}"/>
          </ac:spMkLst>
        </pc:spChg>
        <pc:graphicFrameChg chg="add mod modGraphic">
          <ac:chgData name="Thomas Stensitzki" userId="75cafe6b-2f2a-469b-85c4-eec3b9c972ba" providerId="ADAL" clId="{426B5353-CC1A-46F7-AE4E-AA86B8F4A37A}" dt="2023-03-21T15:07:26.467" v="2758" actId="20577"/>
          <ac:graphicFrameMkLst>
            <pc:docMk/>
            <pc:sldMk cId="810960131" sldId="325"/>
            <ac:graphicFrameMk id="5" creationId="{82564FF9-6C5F-C7D3-8D19-4299636F98A5}"/>
          </ac:graphicFrameMkLst>
        </pc:graphicFrameChg>
      </pc:sldChg>
      <pc:sldChg chg="addSp modSp new mod modTransition modAnim">
        <pc:chgData name="Thomas Stensitzki" userId="75cafe6b-2f2a-469b-85c4-eec3b9c972ba" providerId="ADAL" clId="{426B5353-CC1A-46F7-AE4E-AA86B8F4A37A}" dt="2023-03-21T15:10:04.125" v="2780" actId="255"/>
        <pc:sldMkLst>
          <pc:docMk/>
          <pc:sldMk cId="2250562298" sldId="326"/>
        </pc:sldMkLst>
        <pc:spChg chg="mod">
          <ac:chgData name="Thomas Stensitzki" userId="75cafe6b-2f2a-469b-85c4-eec3b9c972ba" providerId="ADAL" clId="{426B5353-CC1A-46F7-AE4E-AA86B8F4A37A}" dt="2023-03-21T09:31:12.080" v="2073"/>
          <ac:spMkLst>
            <pc:docMk/>
            <pc:sldMk cId="2250562298" sldId="326"/>
            <ac:spMk id="2" creationId="{2F310071-21CB-6FFE-418B-84DA79373EF5}"/>
          </ac:spMkLst>
        </pc:spChg>
        <pc:spChg chg="add mod">
          <ac:chgData name="Thomas Stensitzki" userId="75cafe6b-2f2a-469b-85c4-eec3b9c972ba" providerId="ADAL" clId="{426B5353-CC1A-46F7-AE4E-AA86B8F4A37A}" dt="2023-03-21T15:09:43.744" v="2779" actId="1076"/>
          <ac:spMkLst>
            <pc:docMk/>
            <pc:sldMk cId="2250562298" sldId="326"/>
            <ac:spMk id="4" creationId="{7AF4122E-C94D-BB83-39B4-3CAA2D8B751E}"/>
          </ac:spMkLst>
        </pc:spChg>
        <pc:spChg chg="add mod">
          <ac:chgData name="Thomas Stensitzki" userId="75cafe6b-2f2a-469b-85c4-eec3b9c972ba" providerId="ADAL" clId="{426B5353-CC1A-46F7-AE4E-AA86B8F4A37A}" dt="2023-03-21T15:09:38.541" v="2778" actId="404"/>
          <ac:spMkLst>
            <pc:docMk/>
            <pc:sldMk cId="2250562298" sldId="326"/>
            <ac:spMk id="5" creationId="{BAFA734F-1052-FBBE-C9FC-3C6C4856CD97}"/>
          </ac:spMkLst>
        </pc:spChg>
        <pc:spChg chg="add mod">
          <ac:chgData name="Thomas Stensitzki" userId="75cafe6b-2f2a-469b-85c4-eec3b9c972ba" providerId="ADAL" clId="{426B5353-CC1A-46F7-AE4E-AA86B8F4A37A}" dt="2023-03-21T15:09:38.541" v="2778" actId="404"/>
          <ac:spMkLst>
            <pc:docMk/>
            <pc:sldMk cId="2250562298" sldId="326"/>
            <ac:spMk id="6" creationId="{73870874-0B5E-0F96-8CCA-5C3761BE1C99}"/>
          </ac:spMkLst>
        </pc:spChg>
        <pc:spChg chg="add mod">
          <ac:chgData name="Thomas Stensitzki" userId="75cafe6b-2f2a-469b-85c4-eec3b9c972ba" providerId="ADAL" clId="{426B5353-CC1A-46F7-AE4E-AA86B8F4A37A}" dt="2023-03-21T15:10:04.125" v="2780" actId="255"/>
          <ac:spMkLst>
            <pc:docMk/>
            <pc:sldMk cId="2250562298" sldId="326"/>
            <ac:spMk id="7" creationId="{AA1AB9A7-1F6C-D299-93AB-092D07F3F761}"/>
          </ac:spMkLst>
        </pc:spChg>
        <pc:spChg chg="add mod">
          <ac:chgData name="Thomas Stensitzki" userId="75cafe6b-2f2a-469b-85c4-eec3b9c972ba" providerId="ADAL" clId="{426B5353-CC1A-46F7-AE4E-AA86B8F4A37A}" dt="2023-03-21T15:10:04.125" v="2780" actId="255"/>
          <ac:spMkLst>
            <pc:docMk/>
            <pc:sldMk cId="2250562298" sldId="326"/>
            <ac:spMk id="8" creationId="{5C431B99-4C6A-3AE0-27D1-C63FEB283915}"/>
          </ac:spMkLst>
        </pc:spChg>
        <pc:spChg chg="add mod">
          <ac:chgData name="Thomas Stensitzki" userId="75cafe6b-2f2a-469b-85c4-eec3b9c972ba" providerId="ADAL" clId="{426B5353-CC1A-46F7-AE4E-AA86B8F4A37A}" dt="2023-03-21T15:10:04.125" v="2780" actId="255"/>
          <ac:spMkLst>
            <pc:docMk/>
            <pc:sldMk cId="2250562298" sldId="326"/>
            <ac:spMk id="9" creationId="{4AC6A779-12CB-5043-1D3D-C5AF9A874014}"/>
          </ac:spMkLst>
        </pc:spChg>
        <pc:spChg chg="add mod">
          <ac:chgData name="Thomas Stensitzki" userId="75cafe6b-2f2a-469b-85c4-eec3b9c972ba" providerId="ADAL" clId="{426B5353-CC1A-46F7-AE4E-AA86B8F4A37A}" dt="2023-03-21T15:10:04.125" v="2780" actId="255"/>
          <ac:spMkLst>
            <pc:docMk/>
            <pc:sldMk cId="2250562298" sldId="326"/>
            <ac:spMk id="10" creationId="{655DDC62-0BDD-3140-CC8D-D4F2EC459DD3}"/>
          </ac:spMkLst>
        </pc:spChg>
        <pc:spChg chg="add mod">
          <ac:chgData name="Thomas Stensitzki" userId="75cafe6b-2f2a-469b-85c4-eec3b9c972ba" providerId="ADAL" clId="{426B5353-CC1A-46F7-AE4E-AA86B8F4A37A}" dt="2023-03-21T15:10:04.125" v="2780" actId="255"/>
          <ac:spMkLst>
            <pc:docMk/>
            <pc:sldMk cId="2250562298" sldId="326"/>
            <ac:spMk id="11" creationId="{4AEBE701-BEA2-2BF7-6D78-871085583B38}"/>
          </ac:spMkLst>
        </pc:spChg>
        <pc:spChg chg="add mod">
          <ac:chgData name="Thomas Stensitzki" userId="75cafe6b-2f2a-469b-85c4-eec3b9c972ba" providerId="ADAL" clId="{426B5353-CC1A-46F7-AE4E-AA86B8F4A37A}" dt="2023-03-21T15:10:04.125" v="2780" actId="255"/>
          <ac:spMkLst>
            <pc:docMk/>
            <pc:sldMk cId="2250562298" sldId="326"/>
            <ac:spMk id="13" creationId="{280903A5-4D75-A38A-BD61-1D8DEE7FC193}"/>
          </ac:spMkLst>
        </pc:spChg>
        <pc:spChg chg="add mod">
          <ac:chgData name="Thomas Stensitzki" userId="75cafe6b-2f2a-469b-85c4-eec3b9c972ba" providerId="ADAL" clId="{426B5353-CC1A-46F7-AE4E-AA86B8F4A37A}" dt="2023-03-21T15:10:04.125" v="2780" actId="255"/>
          <ac:spMkLst>
            <pc:docMk/>
            <pc:sldMk cId="2250562298" sldId="326"/>
            <ac:spMk id="14" creationId="{40850A88-3F01-F9B0-737A-EB8C611674AE}"/>
          </ac:spMkLst>
        </pc:spChg>
        <pc:spChg chg="add mod">
          <ac:chgData name="Thomas Stensitzki" userId="75cafe6b-2f2a-469b-85c4-eec3b9c972ba" providerId="ADAL" clId="{426B5353-CC1A-46F7-AE4E-AA86B8F4A37A}" dt="2023-03-21T15:10:04.125" v="2780" actId="255"/>
          <ac:spMkLst>
            <pc:docMk/>
            <pc:sldMk cId="2250562298" sldId="326"/>
            <ac:spMk id="15" creationId="{BCD15319-50FE-026C-1892-5033B47D3855}"/>
          </ac:spMkLst>
        </pc:spChg>
        <pc:graphicFrameChg chg="add mod">
          <ac:chgData name="Thomas Stensitzki" userId="75cafe6b-2f2a-469b-85c4-eec3b9c972ba" providerId="ADAL" clId="{426B5353-CC1A-46F7-AE4E-AA86B8F4A37A}" dt="2023-03-21T15:08:29.432" v="2766"/>
          <ac:graphicFrameMkLst>
            <pc:docMk/>
            <pc:sldMk cId="2250562298" sldId="326"/>
            <ac:graphicFrameMk id="3" creationId="{39C6A763-5583-2CAD-B1B1-DD6F3C2AED76}"/>
          </ac:graphicFrameMkLst>
        </pc:graphicFrameChg>
        <pc:picChg chg="add mod">
          <ac:chgData name="Thomas Stensitzki" userId="75cafe6b-2f2a-469b-85c4-eec3b9c972ba" providerId="ADAL" clId="{426B5353-CC1A-46F7-AE4E-AA86B8F4A37A}" dt="2023-03-21T15:08:22.517" v="2764" actId="1076"/>
          <ac:picMkLst>
            <pc:docMk/>
            <pc:sldMk cId="2250562298" sldId="326"/>
            <ac:picMk id="12" creationId="{72A30C04-9906-7A89-A2EC-60288510BA75}"/>
          </ac:picMkLst>
        </pc:picChg>
      </pc:sldChg>
      <pc:sldChg chg="addSp modSp new mod modTransition modClrScheme modAnim chgLayout">
        <pc:chgData name="Thomas Stensitzki" userId="75cafe6b-2f2a-469b-85c4-eec3b9c972ba" providerId="ADAL" clId="{426B5353-CC1A-46F7-AE4E-AA86B8F4A37A}" dt="2023-03-21T15:14:47.609" v="3221" actId="20577"/>
        <pc:sldMkLst>
          <pc:docMk/>
          <pc:sldMk cId="1842017290" sldId="327"/>
        </pc:sldMkLst>
        <pc:spChg chg="mod ord">
          <ac:chgData name="Thomas Stensitzki" userId="75cafe6b-2f2a-469b-85c4-eec3b9c972ba" providerId="ADAL" clId="{426B5353-CC1A-46F7-AE4E-AA86B8F4A37A}" dt="2023-03-21T09:33:24.888" v="2087" actId="700"/>
          <ac:spMkLst>
            <pc:docMk/>
            <pc:sldMk cId="1842017290" sldId="327"/>
            <ac:spMk id="2" creationId="{468706E3-94B0-5305-98C2-68527D709C94}"/>
          </ac:spMkLst>
        </pc:spChg>
        <pc:spChg chg="add mod ord">
          <ac:chgData name="Thomas Stensitzki" userId="75cafe6b-2f2a-469b-85c4-eec3b9c972ba" providerId="ADAL" clId="{426B5353-CC1A-46F7-AE4E-AA86B8F4A37A}" dt="2023-03-21T15:14:47.609" v="3221" actId="20577"/>
          <ac:spMkLst>
            <pc:docMk/>
            <pc:sldMk cId="1842017290" sldId="327"/>
            <ac:spMk id="3" creationId="{866E535F-CAC5-1E3F-0B7B-DE55A9C742BA}"/>
          </ac:spMkLst>
        </pc:spChg>
      </pc:sldChg>
      <pc:sldChg chg="modSp add mod ord modTransition">
        <pc:chgData name="Thomas Stensitzki" userId="75cafe6b-2f2a-469b-85c4-eec3b9c972ba" providerId="ADAL" clId="{426B5353-CC1A-46F7-AE4E-AA86B8F4A37A}" dt="2023-03-21T12:38:48.750" v="2421"/>
        <pc:sldMkLst>
          <pc:docMk/>
          <pc:sldMk cId="1442514225" sldId="328"/>
        </pc:sldMkLst>
        <pc:spChg chg="mod">
          <ac:chgData name="Thomas Stensitzki" userId="75cafe6b-2f2a-469b-85c4-eec3b9c972ba" providerId="ADAL" clId="{426B5353-CC1A-46F7-AE4E-AA86B8F4A37A}" dt="2023-03-21T09:35:13.606" v="2111" actId="20577"/>
          <ac:spMkLst>
            <pc:docMk/>
            <pc:sldMk cId="1442514225" sldId="328"/>
            <ac:spMk id="4" creationId="{70E8EAA7-76C4-4D2B-81CE-57CA4627D39E}"/>
          </ac:spMkLst>
        </pc:spChg>
      </pc:sldChg>
      <pc:sldChg chg="addSp delSp modSp new mod modTransition modClrScheme modAnim chgLayout">
        <pc:chgData name="Thomas Stensitzki" userId="75cafe6b-2f2a-469b-85c4-eec3b9c972ba" providerId="ADAL" clId="{426B5353-CC1A-46F7-AE4E-AA86B8F4A37A}" dt="2023-03-21T15:15:26.224" v="3226"/>
        <pc:sldMkLst>
          <pc:docMk/>
          <pc:sldMk cId="4258531061" sldId="329"/>
        </pc:sldMkLst>
        <pc:spChg chg="del mod ord">
          <ac:chgData name="Thomas Stensitzki" userId="75cafe6b-2f2a-469b-85c4-eec3b9c972ba" providerId="ADAL" clId="{426B5353-CC1A-46F7-AE4E-AA86B8F4A37A}" dt="2023-03-21T09:35:36.229" v="2113" actId="700"/>
          <ac:spMkLst>
            <pc:docMk/>
            <pc:sldMk cId="4258531061" sldId="329"/>
            <ac:spMk id="2" creationId="{CC515868-E1DF-5460-33A9-BAC2D7B08692}"/>
          </ac:spMkLst>
        </pc:spChg>
        <pc:spChg chg="del mod ord">
          <ac:chgData name="Thomas Stensitzki" userId="75cafe6b-2f2a-469b-85c4-eec3b9c972ba" providerId="ADAL" clId="{426B5353-CC1A-46F7-AE4E-AA86B8F4A37A}" dt="2023-03-21T09:35:36.229" v="2113" actId="700"/>
          <ac:spMkLst>
            <pc:docMk/>
            <pc:sldMk cId="4258531061" sldId="329"/>
            <ac:spMk id="3" creationId="{6D104D90-013E-48DB-7CE9-35DF02D008C9}"/>
          </ac:spMkLst>
        </pc:spChg>
        <pc:spChg chg="add mod ord">
          <ac:chgData name="Thomas Stensitzki" userId="75cafe6b-2f2a-469b-85c4-eec3b9c972ba" providerId="ADAL" clId="{426B5353-CC1A-46F7-AE4E-AA86B8F4A37A}" dt="2023-03-21T09:35:45.106" v="2145" actId="20577"/>
          <ac:spMkLst>
            <pc:docMk/>
            <pc:sldMk cId="4258531061" sldId="329"/>
            <ac:spMk id="4" creationId="{A2E9E630-FAEB-A73F-D499-E7C73C9C1B61}"/>
          </ac:spMkLst>
        </pc:spChg>
        <pc:spChg chg="add mod ord">
          <ac:chgData name="Thomas Stensitzki" userId="75cafe6b-2f2a-469b-85c4-eec3b9c972ba" providerId="ADAL" clId="{426B5353-CC1A-46F7-AE4E-AA86B8F4A37A}" dt="2023-03-21T09:36:27.278" v="2162" actId="14100"/>
          <ac:spMkLst>
            <pc:docMk/>
            <pc:sldMk cId="4258531061" sldId="329"/>
            <ac:spMk id="5" creationId="{6BC9DE9E-CE7E-CA00-879B-CA31A076E5F9}"/>
          </ac:spMkLst>
        </pc:spChg>
        <pc:picChg chg="add mod">
          <ac:chgData name="Thomas Stensitzki" userId="75cafe6b-2f2a-469b-85c4-eec3b9c972ba" providerId="ADAL" clId="{426B5353-CC1A-46F7-AE4E-AA86B8F4A37A}" dt="2023-03-21T09:36:20.661" v="2161" actId="1076"/>
          <ac:picMkLst>
            <pc:docMk/>
            <pc:sldMk cId="4258531061" sldId="329"/>
            <ac:picMk id="6" creationId="{087A7DDC-9777-9B00-711A-18C19AE3DB6A}"/>
          </ac:picMkLst>
        </pc:picChg>
      </pc:sldChg>
      <pc:sldChg chg="add ord modTransition">
        <pc:chgData name="Thomas Stensitzki" userId="75cafe6b-2f2a-469b-85c4-eec3b9c972ba" providerId="ADAL" clId="{426B5353-CC1A-46F7-AE4E-AA86B8F4A37A}" dt="2023-03-21T12:38:48.750" v="2421"/>
        <pc:sldMkLst>
          <pc:docMk/>
          <pc:sldMk cId="2517935347" sldId="330"/>
        </pc:sldMkLst>
      </pc:sldChg>
      <pc:sldChg chg="addSp delSp modSp new mod modTransition modAnim">
        <pc:chgData name="Thomas Stensitzki" userId="75cafe6b-2f2a-469b-85c4-eec3b9c972ba" providerId="ADAL" clId="{426B5353-CC1A-46F7-AE4E-AA86B8F4A37A}" dt="2023-03-21T12:38:48.750" v="2421"/>
        <pc:sldMkLst>
          <pc:docMk/>
          <pc:sldMk cId="754871404" sldId="331"/>
        </pc:sldMkLst>
        <pc:spChg chg="mod">
          <ac:chgData name="Thomas Stensitzki" userId="75cafe6b-2f2a-469b-85c4-eec3b9c972ba" providerId="ADAL" clId="{426B5353-CC1A-46F7-AE4E-AA86B8F4A37A}" dt="2023-03-21T09:41:51.704" v="2169"/>
          <ac:spMkLst>
            <pc:docMk/>
            <pc:sldMk cId="754871404" sldId="331"/>
            <ac:spMk id="2" creationId="{D62607F0-F6C9-E723-CB1E-3A40C87FD419}"/>
          </ac:spMkLst>
        </pc:spChg>
        <pc:spChg chg="del">
          <ac:chgData name="Thomas Stensitzki" userId="75cafe6b-2f2a-469b-85c4-eec3b9c972ba" providerId="ADAL" clId="{426B5353-CC1A-46F7-AE4E-AA86B8F4A37A}" dt="2023-03-21T09:41:56.266" v="2170" actId="478"/>
          <ac:spMkLst>
            <pc:docMk/>
            <pc:sldMk cId="754871404" sldId="331"/>
            <ac:spMk id="3" creationId="{F673B762-1CB0-C7A6-2915-0FFB71BD0CFD}"/>
          </ac:spMkLst>
        </pc:spChg>
        <pc:spChg chg="add mod">
          <ac:chgData name="Thomas Stensitzki" userId="75cafe6b-2f2a-469b-85c4-eec3b9c972ba" providerId="ADAL" clId="{426B5353-CC1A-46F7-AE4E-AA86B8F4A37A}" dt="2023-03-21T10:18:15.273" v="2208" actId="1076"/>
          <ac:spMkLst>
            <pc:docMk/>
            <pc:sldMk cId="754871404" sldId="331"/>
            <ac:spMk id="16" creationId="{0A6C7B9B-397E-3BCE-DC7C-3B4D68C35C5E}"/>
          </ac:spMkLst>
        </pc:spChg>
        <pc:spChg chg="add mod">
          <ac:chgData name="Thomas Stensitzki" userId="75cafe6b-2f2a-469b-85c4-eec3b9c972ba" providerId="ADAL" clId="{426B5353-CC1A-46F7-AE4E-AA86B8F4A37A}" dt="2023-03-21T10:18:03.885" v="2207" actId="1076"/>
          <ac:spMkLst>
            <pc:docMk/>
            <pc:sldMk cId="754871404" sldId="331"/>
            <ac:spMk id="17" creationId="{E95D9E0F-438D-7F81-CE97-5732F19BA77F}"/>
          </ac:spMkLst>
        </pc:spChg>
        <pc:spChg chg="add mod">
          <ac:chgData name="Thomas Stensitzki" userId="75cafe6b-2f2a-469b-85c4-eec3b9c972ba" providerId="ADAL" clId="{426B5353-CC1A-46F7-AE4E-AA86B8F4A37A}" dt="2023-03-21T10:18:15.273" v="2208" actId="1076"/>
          <ac:spMkLst>
            <pc:docMk/>
            <pc:sldMk cId="754871404" sldId="331"/>
            <ac:spMk id="21" creationId="{C0299984-94BE-8120-363B-2B5803DAB718}"/>
          </ac:spMkLst>
        </pc:spChg>
        <pc:spChg chg="add mod">
          <ac:chgData name="Thomas Stensitzki" userId="75cafe6b-2f2a-469b-85c4-eec3b9c972ba" providerId="ADAL" clId="{426B5353-CC1A-46F7-AE4E-AA86B8F4A37A}" dt="2023-03-21T10:18:15.273" v="2208" actId="1076"/>
          <ac:spMkLst>
            <pc:docMk/>
            <pc:sldMk cId="754871404" sldId="331"/>
            <ac:spMk id="24" creationId="{4CCE5993-0614-DBAE-6038-B17DC653347E}"/>
          </ac:spMkLst>
        </pc:spChg>
        <pc:spChg chg="add mod">
          <ac:chgData name="Thomas Stensitzki" userId="75cafe6b-2f2a-469b-85c4-eec3b9c972ba" providerId="ADAL" clId="{426B5353-CC1A-46F7-AE4E-AA86B8F4A37A}" dt="2023-03-21T10:18:03.885" v="2207" actId="1076"/>
          <ac:spMkLst>
            <pc:docMk/>
            <pc:sldMk cId="754871404" sldId="331"/>
            <ac:spMk id="25" creationId="{D503EAC5-8F92-630E-D09D-FE1B221B31C7}"/>
          </ac:spMkLst>
        </pc:spChg>
        <pc:spChg chg="add mod">
          <ac:chgData name="Thomas Stensitzki" userId="75cafe6b-2f2a-469b-85c4-eec3b9c972ba" providerId="ADAL" clId="{426B5353-CC1A-46F7-AE4E-AA86B8F4A37A}" dt="2023-03-21T10:18:03.885" v="2207" actId="1076"/>
          <ac:spMkLst>
            <pc:docMk/>
            <pc:sldMk cId="754871404" sldId="331"/>
            <ac:spMk id="26" creationId="{D6A6DFDB-B329-F411-4A80-5B595834EC05}"/>
          </ac:spMkLst>
        </pc:spChg>
        <pc:spChg chg="add mod">
          <ac:chgData name="Thomas Stensitzki" userId="75cafe6b-2f2a-469b-85c4-eec3b9c972ba" providerId="ADAL" clId="{426B5353-CC1A-46F7-AE4E-AA86B8F4A37A}" dt="2023-03-21T10:18:03.885" v="2207" actId="1076"/>
          <ac:spMkLst>
            <pc:docMk/>
            <pc:sldMk cId="754871404" sldId="331"/>
            <ac:spMk id="27" creationId="{3316EDDC-5286-DAE0-B636-1EC3C7A0578E}"/>
          </ac:spMkLst>
        </pc:spChg>
        <pc:spChg chg="mod">
          <ac:chgData name="Thomas Stensitzki" userId="75cafe6b-2f2a-469b-85c4-eec3b9c972ba" providerId="ADAL" clId="{426B5353-CC1A-46F7-AE4E-AA86B8F4A37A}" dt="2023-03-21T09:42:13.266" v="2171"/>
          <ac:spMkLst>
            <pc:docMk/>
            <pc:sldMk cId="754871404" sldId="331"/>
            <ac:spMk id="30" creationId="{454B36F0-FDB2-06E3-C4B1-4D601B165B20}"/>
          </ac:spMkLst>
        </pc:spChg>
        <pc:spChg chg="mod">
          <ac:chgData name="Thomas Stensitzki" userId="75cafe6b-2f2a-469b-85c4-eec3b9c972ba" providerId="ADAL" clId="{426B5353-CC1A-46F7-AE4E-AA86B8F4A37A}" dt="2023-03-21T09:42:13.266" v="2171"/>
          <ac:spMkLst>
            <pc:docMk/>
            <pc:sldMk cId="754871404" sldId="331"/>
            <ac:spMk id="33" creationId="{C53A80FB-D24C-A454-2FBD-D264BC378649}"/>
          </ac:spMkLst>
        </pc:spChg>
        <pc:spChg chg="mod">
          <ac:chgData name="Thomas Stensitzki" userId="75cafe6b-2f2a-469b-85c4-eec3b9c972ba" providerId="ADAL" clId="{426B5353-CC1A-46F7-AE4E-AA86B8F4A37A}" dt="2023-03-21T09:42:13.266" v="2171"/>
          <ac:spMkLst>
            <pc:docMk/>
            <pc:sldMk cId="754871404" sldId="331"/>
            <ac:spMk id="38" creationId="{D4CC8FB0-AFAD-EB7D-EA85-DC6ABD10FCD4}"/>
          </ac:spMkLst>
        </pc:spChg>
        <pc:spChg chg="add mod">
          <ac:chgData name="Thomas Stensitzki" userId="75cafe6b-2f2a-469b-85c4-eec3b9c972ba" providerId="ADAL" clId="{426B5353-CC1A-46F7-AE4E-AA86B8F4A37A}" dt="2023-03-21T10:18:15.273" v="2208" actId="1076"/>
          <ac:spMkLst>
            <pc:docMk/>
            <pc:sldMk cId="754871404" sldId="331"/>
            <ac:spMk id="39" creationId="{35E0AA23-E1E8-E0FD-1CDE-E9C4A2EE1CFD}"/>
          </ac:spMkLst>
        </pc:spChg>
        <pc:spChg chg="add mod">
          <ac:chgData name="Thomas Stensitzki" userId="75cafe6b-2f2a-469b-85c4-eec3b9c972ba" providerId="ADAL" clId="{426B5353-CC1A-46F7-AE4E-AA86B8F4A37A}" dt="2023-03-21T10:18:03.885" v="2207" actId="1076"/>
          <ac:spMkLst>
            <pc:docMk/>
            <pc:sldMk cId="754871404" sldId="331"/>
            <ac:spMk id="40" creationId="{DE6C51F8-99EE-6A77-A1DB-75DDC6630A73}"/>
          </ac:spMkLst>
        </pc:spChg>
        <pc:spChg chg="add mod">
          <ac:chgData name="Thomas Stensitzki" userId="75cafe6b-2f2a-469b-85c4-eec3b9c972ba" providerId="ADAL" clId="{426B5353-CC1A-46F7-AE4E-AA86B8F4A37A}" dt="2023-03-21T10:21:27.924" v="2302" actId="114"/>
          <ac:spMkLst>
            <pc:docMk/>
            <pc:sldMk cId="754871404" sldId="331"/>
            <ac:spMk id="41" creationId="{3E343736-F77D-FF7B-8104-EBBA43F7B62C}"/>
          </ac:spMkLst>
        </pc:spChg>
        <pc:spChg chg="add mod">
          <ac:chgData name="Thomas Stensitzki" userId="75cafe6b-2f2a-469b-85c4-eec3b9c972ba" providerId="ADAL" clId="{426B5353-CC1A-46F7-AE4E-AA86B8F4A37A}" dt="2023-03-21T10:18:15.273" v="2208" actId="1076"/>
          <ac:spMkLst>
            <pc:docMk/>
            <pc:sldMk cId="754871404" sldId="331"/>
            <ac:spMk id="42" creationId="{C7BCA07F-6327-DFA5-F006-ADA4EB3FAEAC}"/>
          </ac:spMkLst>
        </pc:spChg>
        <pc:spChg chg="add mod">
          <ac:chgData name="Thomas Stensitzki" userId="75cafe6b-2f2a-469b-85c4-eec3b9c972ba" providerId="ADAL" clId="{426B5353-CC1A-46F7-AE4E-AA86B8F4A37A}" dt="2023-03-21T10:20:03.324" v="2289" actId="14100"/>
          <ac:spMkLst>
            <pc:docMk/>
            <pc:sldMk cId="754871404" sldId="331"/>
            <ac:spMk id="44" creationId="{18EEB8C9-7090-215F-670F-029DFBDB9C6B}"/>
          </ac:spMkLst>
        </pc:spChg>
        <pc:grpChg chg="add mod">
          <ac:chgData name="Thomas Stensitzki" userId="75cafe6b-2f2a-469b-85c4-eec3b9c972ba" providerId="ADAL" clId="{426B5353-CC1A-46F7-AE4E-AA86B8F4A37A}" dt="2023-03-21T10:18:15.273" v="2208" actId="1076"/>
          <ac:grpSpMkLst>
            <pc:docMk/>
            <pc:sldMk cId="754871404" sldId="331"/>
            <ac:grpSpMk id="28" creationId="{30A7891B-68A6-B770-A9FE-1FDBAE62D9C1}"/>
          </ac:grpSpMkLst>
        </pc:grpChg>
        <pc:grpChg chg="add mod">
          <ac:chgData name="Thomas Stensitzki" userId="75cafe6b-2f2a-469b-85c4-eec3b9c972ba" providerId="ADAL" clId="{426B5353-CC1A-46F7-AE4E-AA86B8F4A37A}" dt="2023-03-21T10:18:03.885" v="2207" actId="1076"/>
          <ac:grpSpMkLst>
            <pc:docMk/>
            <pc:sldMk cId="754871404" sldId="331"/>
            <ac:grpSpMk id="31" creationId="{EC2F9B14-4A9A-A24C-D36F-9A4B9A7D4F81}"/>
          </ac:grpSpMkLst>
        </pc:grpChg>
        <pc:grpChg chg="add mod">
          <ac:chgData name="Thomas Stensitzki" userId="75cafe6b-2f2a-469b-85c4-eec3b9c972ba" providerId="ADAL" clId="{426B5353-CC1A-46F7-AE4E-AA86B8F4A37A}" dt="2023-03-21T10:18:15.273" v="2208" actId="1076"/>
          <ac:grpSpMkLst>
            <pc:docMk/>
            <pc:sldMk cId="754871404" sldId="331"/>
            <ac:grpSpMk id="36" creationId="{BB2B860A-3D27-705E-5EC7-06BC6D10A62F}"/>
          </ac:grpSpMkLst>
        </pc:grpChg>
        <pc:picChg chg="add mod">
          <ac:chgData name="Thomas Stensitzki" userId="75cafe6b-2f2a-469b-85c4-eec3b9c972ba" providerId="ADAL" clId="{426B5353-CC1A-46F7-AE4E-AA86B8F4A37A}" dt="2023-03-21T10:18:03.885" v="2207" actId="1076"/>
          <ac:picMkLst>
            <pc:docMk/>
            <pc:sldMk cId="754871404" sldId="331"/>
            <ac:picMk id="4" creationId="{6F0A9803-B607-B0FC-2382-C207F2D6A212}"/>
          </ac:picMkLst>
        </pc:picChg>
        <pc:picChg chg="add mod">
          <ac:chgData name="Thomas Stensitzki" userId="75cafe6b-2f2a-469b-85c4-eec3b9c972ba" providerId="ADAL" clId="{426B5353-CC1A-46F7-AE4E-AA86B8F4A37A}" dt="2023-03-21T10:18:15.273" v="2208" actId="1076"/>
          <ac:picMkLst>
            <pc:docMk/>
            <pc:sldMk cId="754871404" sldId="331"/>
            <ac:picMk id="5" creationId="{93012433-A691-F7FF-5928-3FDE3ED56971}"/>
          </ac:picMkLst>
        </pc:picChg>
        <pc:picChg chg="add mod">
          <ac:chgData name="Thomas Stensitzki" userId="75cafe6b-2f2a-469b-85c4-eec3b9c972ba" providerId="ADAL" clId="{426B5353-CC1A-46F7-AE4E-AA86B8F4A37A}" dt="2023-03-21T10:18:15.273" v="2208" actId="1076"/>
          <ac:picMkLst>
            <pc:docMk/>
            <pc:sldMk cId="754871404" sldId="331"/>
            <ac:picMk id="6" creationId="{132C23B5-5EC4-AAA8-3B08-F23DC2EA8ACA}"/>
          </ac:picMkLst>
        </pc:picChg>
        <pc:picChg chg="add mod">
          <ac:chgData name="Thomas Stensitzki" userId="75cafe6b-2f2a-469b-85c4-eec3b9c972ba" providerId="ADAL" clId="{426B5353-CC1A-46F7-AE4E-AA86B8F4A37A}" dt="2023-03-21T10:18:15.273" v="2208" actId="1076"/>
          <ac:picMkLst>
            <pc:docMk/>
            <pc:sldMk cId="754871404" sldId="331"/>
            <ac:picMk id="7" creationId="{E9FAE9B8-4F9D-7BC9-2D69-A46D2485EF0F}"/>
          </ac:picMkLst>
        </pc:picChg>
        <pc:picChg chg="add mod">
          <ac:chgData name="Thomas Stensitzki" userId="75cafe6b-2f2a-469b-85c4-eec3b9c972ba" providerId="ADAL" clId="{426B5353-CC1A-46F7-AE4E-AA86B8F4A37A}" dt="2023-03-21T10:18:15.273" v="2208" actId="1076"/>
          <ac:picMkLst>
            <pc:docMk/>
            <pc:sldMk cId="754871404" sldId="331"/>
            <ac:picMk id="8" creationId="{62B93CAD-8A47-EA66-1D1B-BE1E3867333F}"/>
          </ac:picMkLst>
        </pc:picChg>
        <pc:picChg chg="add mod">
          <ac:chgData name="Thomas Stensitzki" userId="75cafe6b-2f2a-469b-85c4-eec3b9c972ba" providerId="ADAL" clId="{426B5353-CC1A-46F7-AE4E-AA86B8F4A37A}" dt="2023-03-21T10:18:03.885" v="2207" actId="1076"/>
          <ac:picMkLst>
            <pc:docMk/>
            <pc:sldMk cId="754871404" sldId="331"/>
            <ac:picMk id="9" creationId="{EFB10314-E5DF-CF8E-2CE7-B92450BF6DF3}"/>
          </ac:picMkLst>
        </pc:picChg>
        <pc:picChg chg="add mod">
          <ac:chgData name="Thomas Stensitzki" userId="75cafe6b-2f2a-469b-85c4-eec3b9c972ba" providerId="ADAL" clId="{426B5353-CC1A-46F7-AE4E-AA86B8F4A37A}" dt="2023-03-21T10:18:03.885" v="2207" actId="1076"/>
          <ac:picMkLst>
            <pc:docMk/>
            <pc:sldMk cId="754871404" sldId="331"/>
            <ac:picMk id="10" creationId="{6C5CDCC8-2A53-9CAB-11ED-5B2E6CB04C1F}"/>
          </ac:picMkLst>
        </pc:picChg>
        <pc:picChg chg="add mod">
          <ac:chgData name="Thomas Stensitzki" userId="75cafe6b-2f2a-469b-85c4-eec3b9c972ba" providerId="ADAL" clId="{426B5353-CC1A-46F7-AE4E-AA86B8F4A37A}" dt="2023-03-21T10:18:03.885" v="2207" actId="1076"/>
          <ac:picMkLst>
            <pc:docMk/>
            <pc:sldMk cId="754871404" sldId="331"/>
            <ac:picMk id="11" creationId="{05E406FD-91BC-37E8-BDCE-7C878B24B33C}"/>
          </ac:picMkLst>
        </pc:picChg>
        <pc:picChg chg="add mod">
          <ac:chgData name="Thomas Stensitzki" userId="75cafe6b-2f2a-469b-85c4-eec3b9c972ba" providerId="ADAL" clId="{426B5353-CC1A-46F7-AE4E-AA86B8F4A37A}" dt="2023-03-21T10:18:15.273" v="2208" actId="1076"/>
          <ac:picMkLst>
            <pc:docMk/>
            <pc:sldMk cId="754871404" sldId="331"/>
            <ac:picMk id="12" creationId="{0F840436-D62A-DF10-983E-AAB16BFF363B}"/>
          </ac:picMkLst>
        </pc:picChg>
        <pc:picChg chg="add mod">
          <ac:chgData name="Thomas Stensitzki" userId="75cafe6b-2f2a-469b-85c4-eec3b9c972ba" providerId="ADAL" clId="{426B5353-CC1A-46F7-AE4E-AA86B8F4A37A}" dt="2023-03-21T10:18:15.273" v="2208" actId="1076"/>
          <ac:picMkLst>
            <pc:docMk/>
            <pc:sldMk cId="754871404" sldId="331"/>
            <ac:picMk id="13" creationId="{78A1584B-C762-BD53-3EBC-C5416C643BE8}"/>
          </ac:picMkLst>
        </pc:picChg>
        <pc:picChg chg="add mod">
          <ac:chgData name="Thomas Stensitzki" userId="75cafe6b-2f2a-469b-85c4-eec3b9c972ba" providerId="ADAL" clId="{426B5353-CC1A-46F7-AE4E-AA86B8F4A37A}" dt="2023-03-21T10:18:03.885" v="2207" actId="1076"/>
          <ac:picMkLst>
            <pc:docMk/>
            <pc:sldMk cId="754871404" sldId="331"/>
            <ac:picMk id="14" creationId="{F6C4CDD2-B68C-2D55-C838-4637D4AB840B}"/>
          </ac:picMkLst>
        </pc:picChg>
        <pc:picChg chg="add mod">
          <ac:chgData name="Thomas Stensitzki" userId="75cafe6b-2f2a-469b-85c4-eec3b9c972ba" providerId="ADAL" clId="{426B5353-CC1A-46F7-AE4E-AA86B8F4A37A}" dt="2023-03-21T10:18:03.885" v="2207" actId="1076"/>
          <ac:picMkLst>
            <pc:docMk/>
            <pc:sldMk cId="754871404" sldId="331"/>
            <ac:picMk id="15" creationId="{8B7F3C60-547E-CE0C-861F-C6553E017F79}"/>
          </ac:picMkLst>
        </pc:picChg>
        <pc:picChg chg="add mod">
          <ac:chgData name="Thomas Stensitzki" userId="75cafe6b-2f2a-469b-85c4-eec3b9c972ba" providerId="ADAL" clId="{426B5353-CC1A-46F7-AE4E-AA86B8F4A37A}" dt="2023-03-21T10:18:03.885" v="2207" actId="1076"/>
          <ac:picMkLst>
            <pc:docMk/>
            <pc:sldMk cId="754871404" sldId="331"/>
            <ac:picMk id="18" creationId="{B57032DB-A124-D5D9-755E-6CA838E2CA26}"/>
          </ac:picMkLst>
        </pc:picChg>
        <pc:picChg chg="add mod">
          <ac:chgData name="Thomas Stensitzki" userId="75cafe6b-2f2a-469b-85c4-eec3b9c972ba" providerId="ADAL" clId="{426B5353-CC1A-46F7-AE4E-AA86B8F4A37A}" dt="2023-03-21T10:18:03.885" v="2207" actId="1076"/>
          <ac:picMkLst>
            <pc:docMk/>
            <pc:sldMk cId="754871404" sldId="331"/>
            <ac:picMk id="19" creationId="{54998ED4-21C8-72F2-F736-62C1CD44A396}"/>
          </ac:picMkLst>
        </pc:picChg>
        <pc:picChg chg="add mod">
          <ac:chgData name="Thomas Stensitzki" userId="75cafe6b-2f2a-469b-85c4-eec3b9c972ba" providerId="ADAL" clId="{426B5353-CC1A-46F7-AE4E-AA86B8F4A37A}" dt="2023-03-21T10:18:03.885" v="2207" actId="1076"/>
          <ac:picMkLst>
            <pc:docMk/>
            <pc:sldMk cId="754871404" sldId="331"/>
            <ac:picMk id="20" creationId="{7B897248-C92F-B694-E97E-39E07DADD305}"/>
          </ac:picMkLst>
        </pc:picChg>
        <pc:picChg chg="mod">
          <ac:chgData name="Thomas Stensitzki" userId="75cafe6b-2f2a-469b-85c4-eec3b9c972ba" providerId="ADAL" clId="{426B5353-CC1A-46F7-AE4E-AA86B8F4A37A}" dt="2023-03-21T09:42:13.266" v="2171"/>
          <ac:picMkLst>
            <pc:docMk/>
            <pc:sldMk cId="754871404" sldId="331"/>
            <ac:picMk id="29" creationId="{9A7FB8D5-76C8-EB71-3A84-9260C667AD1B}"/>
          </ac:picMkLst>
        </pc:picChg>
        <pc:picChg chg="mod">
          <ac:chgData name="Thomas Stensitzki" userId="75cafe6b-2f2a-469b-85c4-eec3b9c972ba" providerId="ADAL" clId="{426B5353-CC1A-46F7-AE4E-AA86B8F4A37A}" dt="2023-03-21T09:42:13.266" v="2171"/>
          <ac:picMkLst>
            <pc:docMk/>
            <pc:sldMk cId="754871404" sldId="331"/>
            <ac:picMk id="32" creationId="{FD0286DE-24AC-4BD8-CDAC-DE19D85860CF}"/>
          </ac:picMkLst>
        </pc:picChg>
        <pc:picChg chg="add mod">
          <ac:chgData name="Thomas Stensitzki" userId="75cafe6b-2f2a-469b-85c4-eec3b9c972ba" providerId="ADAL" clId="{426B5353-CC1A-46F7-AE4E-AA86B8F4A37A}" dt="2023-03-21T10:18:03.885" v="2207" actId="1076"/>
          <ac:picMkLst>
            <pc:docMk/>
            <pc:sldMk cId="754871404" sldId="331"/>
            <ac:picMk id="34" creationId="{F8AD4E90-3C95-AB40-A2B6-1B93EAAF97CC}"/>
          </ac:picMkLst>
        </pc:picChg>
        <pc:picChg chg="add mod">
          <ac:chgData name="Thomas Stensitzki" userId="75cafe6b-2f2a-469b-85c4-eec3b9c972ba" providerId="ADAL" clId="{426B5353-CC1A-46F7-AE4E-AA86B8F4A37A}" dt="2023-03-21T10:18:03.885" v="2207" actId="1076"/>
          <ac:picMkLst>
            <pc:docMk/>
            <pc:sldMk cId="754871404" sldId="331"/>
            <ac:picMk id="35" creationId="{92991347-082C-BB67-3781-B77ABB73FD82}"/>
          </ac:picMkLst>
        </pc:picChg>
        <pc:picChg chg="mod">
          <ac:chgData name="Thomas Stensitzki" userId="75cafe6b-2f2a-469b-85c4-eec3b9c972ba" providerId="ADAL" clId="{426B5353-CC1A-46F7-AE4E-AA86B8F4A37A}" dt="2023-03-21T09:42:13.266" v="2171"/>
          <ac:picMkLst>
            <pc:docMk/>
            <pc:sldMk cId="754871404" sldId="331"/>
            <ac:picMk id="37" creationId="{F8145611-374B-F929-49CA-68649F975110}"/>
          </ac:picMkLst>
        </pc:picChg>
        <pc:cxnChg chg="add mod">
          <ac:chgData name="Thomas Stensitzki" userId="75cafe6b-2f2a-469b-85c4-eec3b9c972ba" providerId="ADAL" clId="{426B5353-CC1A-46F7-AE4E-AA86B8F4A37A}" dt="2023-03-21T10:18:15.273" v="2208" actId="1076"/>
          <ac:cxnSpMkLst>
            <pc:docMk/>
            <pc:sldMk cId="754871404" sldId="331"/>
            <ac:cxnSpMk id="22" creationId="{66B80C61-3D3C-DBE4-FF50-2FF8FF9C7C7E}"/>
          </ac:cxnSpMkLst>
        </pc:cxnChg>
        <pc:cxnChg chg="add mod">
          <ac:chgData name="Thomas Stensitzki" userId="75cafe6b-2f2a-469b-85c4-eec3b9c972ba" providerId="ADAL" clId="{426B5353-CC1A-46F7-AE4E-AA86B8F4A37A}" dt="2023-03-21T10:18:15.273" v="2208" actId="1076"/>
          <ac:cxnSpMkLst>
            <pc:docMk/>
            <pc:sldMk cId="754871404" sldId="331"/>
            <ac:cxnSpMk id="23" creationId="{E57680AD-BACA-E4CD-0AC4-E24E709E1682}"/>
          </ac:cxnSpMkLst>
        </pc:cxnChg>
      </pc:sldChg>
      <pc:sldChg chg="addSp delSp modSp new del mod modAnim">
        <pc:chgData name="Thomas Stensitzki" userId="75cafe6b-2f2a-469b-85c4-eec3b9c972ba" providerId="ADAL" clId="{426B5353-CC1A-46F7-AE4E-AA86B8F4A37A}" dt="2023-03-21T10:24:40.600" v="2320" actId="47"/>
        <pc:sldMkLst>
          <pc:docMk/>
          <pc:sldMk cId="3544528591" sldId="332"/>
        </pc:sldMkLst>
        <pc:spChg chg="mod">
          <ac:chgData name="Thomas Stensitzki" userId="75cafe6b-2f2a-469b-85c4-eec3b9c972ba" providerId="ADAL" clId="{426B5353-CC1A-46F7-AE4E-AA86B8F4A37A}" dt="2023-03-21T09:42:34.980" v="2173"/>
          <ac:spMkLst>
            <pc:docMk/>
            <pc:sldMk cId="3544528591" sldId="332"/>
            <ac:spMk id="2" creationId="{A77AB9F2-8262-11CA-019F-C510C0BBF348}"/>
          </ac:spMkLst>
        </pc:spChg>
        <pc:spChg chg="del">
          <ac:chgData name="Thomas Stensitzki" userId="75cafe6b-2f2a-469b-85c4-eec3b9c972ba" providerId="ADAL" clId="{426B5353-CC1A-46F7-AE4E-AA86B8F4A37A}" dt="2023-03-21T09:42:38.495" v="2174" actId="478"/>
          <ac:spMkLst>
            <pc:docMk/>
            <pc:sldMk cId="3544528591" sldId="332"/>
            <ac:spMk id="3" creationId="{1F599AE3-8D73-0A45-598C-597E184C976A}"/>
          </ac:spMkLst>
        </pc:spChg>
        <pc:spChg chg="add mod">
          <ac:chgData name="Thomas Stensitzki" userId="75cafe6b-2f2a-469b-85c4-eec3b9c972ba" providerId="ADAL" clId="{426B5353-CC1A-46F7-AE4E-AA86B8F4A37A}" dt="2023-03-21T09:42:49.401" v="2175"/>
          <ac:spMkLst>
            <pc:docMk/>
            <pc:sldMk cId="3544528591" sldId="332"/>
            <ac:spMk id="17" creationId="{1C996164-B5C3-D68D-5079-3DCEA8A43B70}"/>
          </ac:spMkLst>
        </pc:spChg>
        <pc:spChg chg="add mod">
          <ac:chgData name="Thomas Stensitzki" userId="75cafe6b-2f2a-469b-85c4-eec3b9c972ba" providerId="ADAL" clId="{426B5353-CC1A-46F7-AE4E-AA86B8F4A37A}" dt="2023-03-21T09:42:49.401" v="2175"/>
          <ac:spMkLst>
            <pc:docMk/>
            <pc:sldMk cId="3544528591" sldId="332"/>
            <ac:spMk id="18" creationId="{9C56788D-66AC-7DD3-5561-918D72EAF759}"/>
          </ac:spMkLst>
        </pc:spChg>
        <pc:spChg chg="add mod">
          <ac:chgData name="Thomas Stensitzki" userId="75cafe6b-2f2a-469b-85c4-eec3b9c972ba" providerId="ADAL" clId="{426B5353-CC1A-46F7-AE4E-AA86B8F4A37A}" dt="2023-03-21T09:42:49.401" v="2175"/>
          <ac:spMkLst>
            <pc:docMk/>
            <pc:sldMk cId="3544528591" sldId="332"/>
            <ac:spMk id="22" creationId="{D6A32D69-6627-EADA-2EB4-B0A51AE1EF6B}"/>
          </ac:spMkLst>
        </pc:spChg>
        <pc:spChg chg="add mod">
          <ac:chgData name="Thomas Stensitzki" userId="75cafe6b-2f2a-469b-85c4-eec3b9c972ba" providerId="ADAL" clId="{426B5353-CC1A-46F7-AE4E-AA86B8F4A37A}" dt="2023-03-21T09:42:49.401" v="2175"/>
          <ac:spMkLst>
            <pc:docMk/>
            <pc:sldMk cId="3544528591" sldId="332"/>
            <ac:spMk id="25" creationId="{7E9157A2-8250-72B3-DBCF-4805FA5C8BF9}"/>
          </ac:spMkLst>
        </pc:spChg>
        <pc:spChg chg="add mod">
          <ac:chgData name="Thomas Stensitzki" userId="75cafe6b-2f2a-469b-85c4-eec3b9c972ba" providerId="ADAL" clId="{426B5353-CC1A-46F7-AE4E-AA86B8F4A37A}" dt="2023-03-21T09:42:49.401" v="2175"/>
          <ac:spMkLst>
            <pc:docMk/>
            <pc:sldMk cId="3544528591" sldId="332"/>
            <ac:spMk id="26" creationId="{C0E1C06E-7141-99AD-59E4-E7CFBC8A76F3}"/>
          </ac:spMkLst>
        </pc:spChg>
        <pc:spChg chg="add mod">
          <ac:chgData name="Thomas Stensitzki" userId="75cafe6b-2f2a-469b-85c4-eec3b9c972ba" providerId="ADAL" clId="{426B5353-CC1A-46F7-AE4E-AA86B8F4A37A}" dt="2023-03-21T09:42:49.401" v="2175"/>
          <ac:spMkLst>
            <pc:docMk/>
            <pc:sldMk cId="3544528591" sldId="332"/>
            <ac:spMk id="27" creationId="{9D7605EF-A1E6-977A-CE1D-95455D777353}"/>
          </ac:spMkLst>
        </pc:spChg>
        <pc:spChg chg="add mod">
          <ac:chgData name="Thomas Stensitzki" userId="75cafe6b-2f2a-469b-85c4-eec3b9c972ba" providerId="ADAL" clId="{426B5353-CC1A-46F7-AE4E-AA86B8F4A37A}" dt="2023-03-21T09:42:49.401" v="2175"/>
          <ac:spMkLst>
            <pc:docMk/>
            <pc:sldMk cId="3544528591" sldId="332"/>
            <ac:spMk id="28" creationId="{7A1A4B78-2724-54D7-7441-52D0BAF91BCC}"/>
          </ac:spMkLst>
        </pc:spChg>
        <pc:spChg chg="mod">
          <ac:chgData name="Thomas Stensitzki" userId="75cafe6b-2f2a-469b-85c4-eec3b9c972ba" providerId="ADAL" clId="{426B5353-CC1A-46F7-AE4E-AA86B8F4A37A}" dt="2023-03-21T09:42:49.401" v="2175"/>
          <ac:spMkLst>
            <pc:docMk/>
            <pc:sldMk cId="3544528591" sldId="332"/>
            <ac:spMk id="31" creationId="{6348F2AB-928B-F1CC-D403-A59A214CFFF4}"/>
          </ac:spMkLst>
        </pc:spChg>
        <pc:spChg chg="mod">
          <ac:chgData name="Thomas Stensitzki" userId="75cafe6b-2f2a-469b-85c4-eec3b9c972ba" providerId="ADAL" clId="{426B5353-CC1A-46F7-AE4E-AA86B8F4A37A}" dt="2023-03-21T09:42:49.401" v="2175"/>
          <ac:spMkLst>
            <pc:docMk/>
            <pc:sldMk cId="3544528591" sldId="332"/>
            <ac:spMk id="34" creationId="{B62408EB-BA7A-A7D5-AEAA-E4E8D1EC608C}"/>
          </ac:spMkLst>
        </pc:spChg>
        <pc:spChg chg="mod">
          <ac:chgData name="Thomas Stensitzki" userId="75cafe6b-2f2a-469b-85c4-eec3b9c972ba" providerId="ADAL" clId="{426B5353-CC1A-46F7-AE4E-AA86B8F4A37A}" dt="2023-03-21T09:42:49.401" v="2175"/>
          <ac:spMkLst>
            <pc:docMk/>
            <pc:sldMk cId="3544528591" sldId="332"/>
            <ac:spMk id="39" creationId="{6F25A29E-6332-9AC2-93FB-DCA2E65D1C05}"/>
          </ac:spMkLst>
        </pc:spChg>
        <pc:spChg chg="add mod">
          <ac:chgData name="Thomas Stensitzki" userId="75cafe6b-2f2a-469b-85c4-eec3b9c972ba" providerId="ADAL" clId="{426B5353-CC1A-46F7-AE4E-AA86B8F4A37A}" dt="2023-03-21T09:42:49.401" v="2175"/>
          <ac:spMkLst>
            <pc:docMk/>
            <pc:sldMk cId="3544528591" sldId="332"/>
            <ac:spMk id="40" creationId="{AA01D425-1D18-094F-DFA3-4EC7B73AD7DB}"/>
          </ac:spMkLst>
        </pc:spChg>
        <pc:spChg chg="add mod">
          <ac:chgData name="Thomas Stensitzki" userId="75cafe6b-2f2a-469b-85c4-eec3b9c972ba" providerId="ADAL" clId="{426B5353-CC1A-46F7-AE4E-AA86B8F4A37A}" dt="2023-03-21T09:42:49.401" v="2175"/>
          <ac:spMkLst>
            <pc:docMk/>
            <pc:sldMk cId="3544528591" sldId="332"/>
            <ac:spMk id="41" creationId="{AC597344-58AF-55A1-D2C8-CAE4CD394C56}"/>
          </ac:spMkLst>
        </pc:spChg>
        <pc:spChg chg="add mod">
          <ac:chgData name="Thomas Stensitzki" userId="75cafe6b-2f2a-469b-85c4-eec3b9c972ba" providerId="ADAL" clId="{426B5353-CC1A-46F7-AE4E-AA86B8F4A37A}" dt="2023-03-21T09:42:49.401" v="2175"/>
          <ac:spMkLst>
            <pc:docMk/>
            <pc:sldMk cId="3544528591" sldId="332"/>
            <ac:spMk id="42" creationId="{15D3003B-FB3F-97DE-37C6-1C1DF31CDF63}"/>
          </ac:spMkLst>
        </pc:spChg>
        <pc:spChg chg="add mod">
          <ac:chgData name="Thomas Stensitzki" userId="75cafe6b-2f2a-469b-85c4-eec3b9c972ba" providerId="ADAL" clId="{426B5353-CC1A-46F7-AE4E-AA86B8F4A37A}" dt="2023-03-21T09:42:49.401" v="2175"/>
          <ac:spMkLst>
            <pc:docMk/>
            <pc:sldMk cId="3544528591" sldId="332"/>
            <ac:spMk id="43" creationId="{A25D2BFF-75C3-B95E-D492-682FB113614B}"/>
          </ac:spMkLst>
        </pc:spChg>
        <pc:spChg chg="add mod">
          <ac:chgData name="Thomas Stensitzki" userId="75cafe6b-2f2a-469b-85c4-eec3b9c972ba" providerId="ADAL" clId="{426B5353-CC1A-46F7-AE4E-AA86B8F4A37A}" dt="2023-03-21T09:42:49.401" v="2175"/>
          <ac:spMkLst>
            <pc:docMk/>
            <pc:sldMk cId="3544528591" sldId="332"/>
            <ac:spMk id="46" creationId="{BB0EBA4D-1B1A-996B-81CE-456DBA8ED021}"/>
          </ac:spMkLst>
        </pc:spChg>
        <pc:spChg chg="add mod">
          <ac:chgData name="Thomas Stensitzki" userId="75cafe6b-2f2a-469b-85c4-eec3b9c972ba" providerId="ADAL" clId="{426B5353-CC1A-46F7-AE4E-AA86B8F4A37A}" dt="2023-03-21T09:42:49.401" v="2175"/>
          <ac:spMkLst>
            <pc:docMk/>
            <pc:sldMk cId="3544528591" sldId="332"/>
            <ac:spMk id="49" creationId="{C4985822-FE3C-2F1A-4BC7-8FD0AA918453}"/>
          </ac:spMkLst>
        </pc:spChg>
        <pc:grpChg chg="add mod">
          <ac:chgData name="Thomas Stensitzki" userId="75cafe6b-2f2a-469b-85c4-eec3b9c972ba" providerId="ADAL" clId="{426B5353-CC1A-46F7-AE4E-AA86B8F4A37A}" dt="2023-03-21T09:42:49.401" v="2175"/>
          <ac:grpSpMkLst>
            <pc:docMk/>
            <pc:sldMk cId="3544528591" sldId="332"/>
            <ac:grpSpMk id="29" creationId="{F54E5FE2-D0BE-7498-7285-947375F84917}"/>
          </ac:grpSpMkLst>
        </pc:grpChg>
        <pc:grpChg chg="add mod">
          <ac:chgData name="Thomas Stensitzki" userId="75cafe6b-2f2a-469b-85c4-eec3b9c972ba" providerId="ADAL" clId="{426B5353-CC1A-46F7-AE4E-AA86B8F4A37A}" dt="2023-03-21T09:42:49.401" v="2175"/>
          <ac:grpSpMkLst>
            <pc:docMk/>
            <pc:sldMk cId="3544528591" sldId="332"/>
            <ac:grpSpMk id="32" creationId="{432558C0-CF2D-EE7F-4915-1A6D7F1BE96C}"/>
          </ac:grpSpMkLst>
        </pc:grpChg>
        <pc:grpChg chg="add mod">
          <ac:chgData name="Thomas Stensitzki" userId="75cafe6b-2f2a-469b-85c4-eec3b9c972ba" providerId="ADAL" clId="{426B5353-CC1A-46F7-AE4E-AA86B8F4A37A}" dt="2023-03-21T09:42:49.401" v="2175"/>
          <ac:grpSpMkLst>
            <pc:docMk/>
            <pc:sldMk cId="3544528591" sldId="332"/>
            <ac:grpSpMk id="37" creationId="{85F1AC17-D447-6056-730A-7362F1671643}"/>
          </ac:grpSpMkLst>
        </pc:grp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4" creationId="{80EB4339-A011-3E63-4D25-F42DA7A5A6E7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5" creationId="{90ED9693-E8E3-E58D-288E-184DE4667FA8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6" creationId="{F560F84E-AA83-1B50-E003-FAF2B4DB679F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7" creationId="{AF44A043-27A8-291D-A650-86256A62D898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8" creationId="{307A45C7-77B4-D8A2-2541-817A362455D6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9" creationId="{D8C53D49-2BEF-4855-A79F-2AF84A7A983D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10" creationId="{DEB3A93F-FA36-2FAA-9B3B-B99B08188835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11" creationId="{51A11FD3-5AAC-9380-F97A-3043CCF681AF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12" creationId="{C5A1BC2F-8BDE-DF4B-9A3C-CE6E26E40CB7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13" creationId="{E720D0C6-8BA3-3230-B7ED-7F84AB4A2777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14" creationId="{6932BBF4-C93F-3A7F-F0B4-139301A46585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15" creationId="{FB99231D-17AE-8A59-2615-4F31D930B54F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16" creationId="{971B6E26-2C98-728A-31EF-FC068940AFA1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19" creationId="{6F6148DF-FED4-8A7D-A10B-54C853CBCEF8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20" creationId="{0D08B4F8-1E03-5A77-2FC2-1B33438CA2A3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21" creationId="{049526EF-F9D1-5401-A59A-515A7F7F7241}"/>
          </ac:picMkLst>
        </pc:picChg>
        <pc:picChg chg="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30" creationId="{6F2BE99E-97DA-66EC-8F84-E090DC26B884}"/>
          </ac:picMkLst>
        </pc:picChg>
        <pc:picChg chg="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33" creationId="{B2ABDFCE-9F3A-06D5-30FC-68236C068AF4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35" creationId="{783E16C4-A745-DA82-0439-F6FC48D5B6F1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36" creationId="{BBE3F3B0-A934-22B6-DD2C-30BE92696688}"/>
          </ac:picMkLst>
        </pc:picChg>
        <pc:picChg chg="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38" creationId="{35E20A29-EA31-8D8B-4B52-E36C7907C607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44" creationId="{36C68FB6-DEDE-1A51-2A18-2309F5043945}"/>
          </ac:picMkLst>
        </pc:picChg>
        <pc:picChg chg="add mod">
          <ac:chgData name="Thomas Stensitzki" userId="75cafe6b-2f2a-469b-85c4-eec3b9c972ba" providerId="ADAL" clId="{426B5353-CC1A-46F7-AE4E-AA86B8F4A37A}" dt="2023-03-21T09:42:49.401" v="2175"/>
          <ac:picMkLst>
            <pc:docMk/>
            <pc:sldMk cId="3544528591" sldId="332"/>
            <ac:picMk id="47" creationId="{01FC7A66-A16D-662B-0F3E-175C07C64EAF}"/>
          </ac:picMkLst>
        </pc:picChg>
        <pc:cxnChg chg="add mod">
          <ac:chgData name="Thomas Stensitzki" userId="75cafe6b-2f2a-469b-85c4-eec3b9c972ba" providerId="ADAL" clId="{426B5353-CC1A-46F7-AE4E-AA86B8F4A37A}" dt="2023-03-21T09:42:49.401" v="2175"/>
          <ac:cxnSpMkLst>
            <pc:docMk/>
            <pc:sldMk cId="3544528591" sldId="332"/>
            <ac:cxnSpMk id="23" creationId="{30BD7252-82E6-AD72-DCA7-BDDCFBDD4451}"/>
          </ac:cxnSpMkLst>
        </pc:cxnChg>
        <pc:cxnChg chg="add mod">
          <ac:chgData name="Thomas Stensitzki" userId="75cafe6b-2f2a-469b-85c4-eec3b9c972ba" providerId="ADAL" clId="{426B5353-CC1A-46F7-AE4E-AA86B8F4A37A}" dt="2023-03-21T09:42:49.401" v="2175"/>
          <ac:cxnSpMkLst>
            <pc:docMk/>
            <pc:sldMk cId="3544528591" sldId="332"/>
            <ac:cxnSpMk id="24" creationId="{BB315F3B-D958-0619-E1C1-4CE2987A0834}"/>
          </ac:cxnSpMkLst>
        </pc:cxnChg>
        <pc:cxnChg chg="add mod">
          <ac:chgData name="Thomas Stensitzki" userId="75cafe6b-2f2a-469b-85c4-eec3b9c972ba" providerId="ADAL" clId="{426B5353-CC1A-46F7-AE4E-AA86B8F4A37A}" dt="2023-03-21T09:42:49.401" v="2175"/>
          <ac:cxnSpMkLst>
            <pc:docMk/>
            <pc:sldMk cId="3544528591" sldId="332"/>
            <ac:cxnSpMk id="45" creationId="{DAED308C-2B5E-5740-B7DA-770CCB42904A}"/>
          </ac:cxnSpMkLst>
        </pc:cxnChg>
        <pc:cxnChg chg="add mod">
          <ac:chgData name="Thomas Stensitzki" userId="75cafe6b-2f2a-469b-85c4-eec3b9c972ba" providerId="ADAL" clId="{426B5353-CC1A-46F7-AE4E-AA86B8F4A37A}" dt="2023-03-21T09:42:49.401" v="2175"/>
          <ac:cxnSpMkLst>
            <pc:docMk/>
            <pc:sldMk cId="3544528591" sldId="332"/>
            <ac:cxnSpMk id="48" creationId="{6B2FBCEE-BE0E-722F-8EED-C3B689CBAD3B}"/>
          </ac:cxnSpMkLst>
        </pc:cxnChg>
      </pc:sldChg>
      <pc:sldChg chg="modSp new mod modTransition modAnim">
        <pc:chgData name="Thomas Stensitzki" userId="75cafe6b-2f2a-469b-85c4-eec3b9c972ba" providerId="ADAL" clId="{426B5353-CC1A-46F7-AE4E-AA86B8F4A37A}" dt="2023-03-21T15:17:57.831" v="3232"/>
        <pc:sldMkLst>
          <pc:docMk/>
          <pc:sldMk cId="2982958068" sldId="333"/>
        </pc:sldMkLst>
        <pc:spChg chg="mod">
          <ac:chgData name="Thomas Stensitzki" userId="75cafe6b-2f2a-469b-85c4-eec3b9c972ba" providerId="ADAL" clId="{426B5353-CC1A-46F7-AE4E-AA86B8F4A37A}" dt="2023-03-21T09:43:09.062" v="2198" actId="20577"/>
          <ac:spMkLst>
            <pc:docMk/>
            <pc:sldMk cId="2982958068" sldId="333"/>
            <ac:spMk id="2" creationId="{B1B43A0D-EAD2-EF12-B8DE-D070D4C08E26}"/>
          </ac:spMkLst>
        </pc:spChg>
        <pc:spChg chg="mod">
          <ac:chgData name="Thomas Stensitzki" userId="75cafe6b-2f2a-469b-85c4-eec3b9c972ba" providerId="ADAL" clId="{426B5353-CC1A-46F7-AE4E-AA86B8F4A37A}" dt="2023-03-21T15:17:22.905" v="3228" actId="113"/>
          <ac:spMkLst>
            <pc:docMk/>
            <pc:sldMk cId="2982958068" sldId="333"/>
            <ac:spMk id="3" creationId="{E5F229CF-3778-BD68-798D-80584F7A6072}"/>
          </ac:spMkLst>
        </pc:spChg>
      </pc:sldChg>
      <pc:sldChg chg="addSp modSp add mod modTransition modAnim">
        <pc:chgData name="Thomas Stensitzki" userId="75cafe6b-2f2a-469b-85c4-eec3b9c972ba" providerId="ADAL" clId="{426B5353-CC1A-46F7-AE4E-AA86B8F4A37A}" dt="2023-03-21T12:38:48.750" v="2421"/>
        <pc:sldMkLst>
          <pc:docMk/>
          <pc:sldMk cId="2230403301" sldId="334"/>
        </pc:sldMkLst>
        <pc:spChg chg="mod">
          <ac:chgData name="Thomas Stensitzki" userId="75cafe6b-2f2a-469b-85c4-eec3b9c972ba" providerId="ADAL" clId="{426B5353-CC1A-46F7-AE4E-AA86B8F4A37A}" dt="2023-03-21T10:23:08.607" v="2311" actId="14100"/>
          <ac:spMkLst>
            <pc:docMk/>
            <pc:sldMk cId="2230403301" sldId="334"/>
            <ac:spMk id="25" creationId="{D503EAC5-8F92-630E-D09D-FE1B221B31C7}"/>
          </ac:spMkLst>
        </pc:spChg>
        <pc:spChg chg="mod">
          <ac:chgData name="Thomas Stensitzki" userId="75cafe6b-2f2a-469b-85c4-eec3b9c972ba" providerId="ADAL" clId="{426B5353-CC1A-46F7-AE4E-AA86B8F4A37A}" dt="2023-03-21T10:22:30.733" v="2306" actId="14100"/>
          <ac:spMkLst>
            <pc:docMk/>
            <pc:sldMk cId="2230403301" sldId="334"/>
            <ac:spMk id="27" creationId="{3316EDDC-5286-DAE0-B636-1EC3C7A0578E}"/>
          </ac:spMkLst>
        </pc:spChg>
        <pc:spChg chg="add mod">
          <ac:chgData name="Thomas Stensitzki" userId="75cafe6b-2f2a-469b-85c4-eec3b9c972ba" providerId="ADAL" clId="{426B5353-CC1A-46F7-AE4E-AA86B8F4A37A}" dt="2023-03-21T10:22:48.155" v="2308" actId="1076"/>
          <ac:spMkLst>
            <pc:docMk/>
            <pc:sldMk cId="2230403301" sldId="334"/>
            <ac:spMk id="43" creationId="{C4F90E76-416A-AC23-A8AB-F2655C2B5344}"/>
          </ac:spMkLst>
        </pc:spChg>
        <pc:spChg chg="add mod">
          <ac:chgData name="Thomas Stensitzki" userId="75cafe6b-2f2a-469b-85c4-eec3b9c972ba" providerId="ADAL" clId="{426B5353-CC1A-46F7-AE4E-AA86B8F4A37A}" dt="2023-03-21T10:31:00.920" v="2359" actId="6549"/>
          <ac:spMkLst>
            <pc:docMk/>
            <pc:sldMk cId="2230403301" sldId="334"/>
            <ac:spMk id="54" creationId="{20F07898-F6D5-CC4B-1B5A-83A19E0DE2A4}"/>
          </ac:spMkLst>
        </pc:spChg>
        <pc:picChg chg="add mod">
          <ac:chgData name="Thomas Stensitzki" userId="75cafe6b-2f2a-469b-85c4-eec3b9c972ba" providerId="ADAL" clId="{426B5353-CC1A-46F7-AE4E-AA86B8F4A37A}" dt="2023-03-21T10:22:23.629" v="2305" actId="1076"/>
          <ac:picMkLst>
            <pc:docMk/>
            <pc:sldMk cId="2230403301" sldId="334"/>
            <ac:picMk id="3" creationId="{3BDCD3E1-817C-7246-B179-99E27EAFEF7D}"/>
          </ac:picMkLst>
        </pc:picChg>
        <pc:picChg chg="add mod">
          <ac:chgData name="Thomas Stensitzki" userId="75cafe6b-2f2a-469b-85c4-eec3b9c972ba" providerId="ADAL" clId="{426B5353-CC1A-46F7-AE4E-AA86B8F4A37A}" dt="2023-03-21T10:23:52.005" v="2315" actId="1076"/>
          <ac:picMkLst>
            <pc:docMk/>
            <pc:sldMk cId="2230403301" sldId="334"/>
            <ac:picMk id="45" creationId="{E484EEBC-6733-7EA0-80AE-0B324A4DB05D}"/>
          </ac:picMkLst>
        </pc:picChg>
        <pc:picChg chg="add mod">
          <ac:chgData name="Thomas Stensitzki" userId="75cafe6b-2f2a-469b-85c4-eec3b9c972ba" providerId="ADAL" clId="{426B5353-CC1A-46F7-AE4E-AA86B8F4A37A}" dt="2023-03-21T10:25:04.809" v="2331" actId="1035"/>
          <ac:picMkLst>
            <pc:docMk/>
            <pc:sldMk cId="2230403301" sldId="334"/>
            <ac:picMk id="47" creationId="{F2B76AA4-CAB7-2D98-F605-B035BB92B8FB}"/>
          </ac:picMkLst>
        </pc:picChg>
        <pc:cxnChg chg="add mod">
          <ac:chgData name="Thomas Stensitzki" userId="75cafe6b-2f2a-469b-85c4-eec3b9c972ba" providerId="ADAL" clId="{426B5353-CC1A-46F7-AE4E-AA86B8F4A37A}" dt="2023-03-21T10:25:01.080" v="2322" actId="14100"/>
          <ac:cxnSpMkLst>
            <pc:docMk/>
            <pc:sldMk cId="2230403301" sldId="334"/>
            <ac:cxnSpMk id="46" creationId="{7A773BB3-732A-A867-A235-1EDFD10AA37F}"/>
          </ac:cxnSpMkLst>
        </pc:cxnChg>
        <pc:cxnChg chg="add mod">
          <ac:chgData name="Thomas Stensitzki" userId="75cafe6b-2f2a-469b-85c4-eec3b9c972ba" providerId="ADAL" clId="{426B5353-CC1A-46F7-AE4E-AA86B8F4A37A}" dt="2023-03-21T10:23:44.847" v="2314" actId="14100"/>
          <ac:cxnSpMkLst>
            <pc:docMk/>
            <pc:sldMk cId="2230403301" sldId="334"/>
            <ac:cxnSpMk id="48" creationId="{65628FE8-5543-5FE9-6350-AB85A3485B4E}"/>
          </ac:cxnSpMkLst>
        </pc:cxnChg>
      </pc:sldChg>
      <pc:sldChg chg="modSp add del">
        <pc:chgData name="Thomas Stensitzki" userId="75cafe6b-2f2a-469b-85c4-eec3b9c972ba" providerId="ADAL" clId="{426B5353-CC1A-46F7-AE4E-AA86B8F4A37A}" dt="2023-03-27T16:30:24.635" v="3654" actId="2696"/>
        <pc:sldMkLst>
          <pc:docMk/>
          <pc:sldMk cId="413403496" sldId="335"/>
        </pc:sldMkLst>
        <pc:spChg chg="mod">
          <ac:chgData name="Thomas Stensitzki" userId="75cafe6b-2f2a-469b-85c4-eec3b9c972ba" providerId="ADAL" clId="{426B5353-CC1A-46F7-AE4E-AA86B8F4A37A}" dt="2023-03-21T15:39:46.660" v="3642" actId="20577"/>
          <ac:spMkLst>
            <pc:docMk/>
            <pc:sldMk cId="413403496" sldId="335"/>
            <ac:spMk id="3" creationId="{866E535F-CAC5-1E3F-0B7B-DE55A9C742BA}"/>
          </ac:spMkLst>
        </pc:spChg>
      </pc:sldChg>
      <pc:sldChg chg="add">
        <pc:chgData name="Thomas Stensitzki" userId="75cafe6b-2f2a-469b-85c4-eec3b9c972ba" providerId="ADAL" clId="{426B5353-CC1A-46F7-AE4E-AA86B8F4A37A}" dt="2023-04-18T19:15:03.919" v="3661"/>
        <pc:sldMkLst>
          <pc:docMk/>
          <pc:sldMk cId="1532379658" sldId="335"/>
        </pc:sldMkLst>
      </pc:sldChg>
      <pc:sldMasterChg chg="modSp modSldLayout">
        <pc:chgData name="Thomas Stensitzki" userId="75cafe6b-2f2a-469b-85c4-eec3b9c972ba" providerId="ADAL" clId="{426B5353-CC1A-46F7-AE4E-AA86B8F4A37A}" dt="2023-03-21T09:32:14.853" v="2082" actId="404"/>
        <pc:sldMasterMkLst>
          <pc:docMk/>
          <pc:sldMasterMk cId="247768031" sldId="2147483648"/>
        </pc:sldMasterMkLst>
        <pc:spChg chg="mod">
          <ac:chgData name="Thomas Stensitzki" userId="75cafe6b-2f2a-469b-85c4-eec3b9c972ba" providerId="ADAL" clId="{426B5353-CC1A-46F7-AE4E-AA86B8F4A37A}" dt="2023-03-21T09:31:45.485" v="2078" actId="403"/>
          <ac:spMkLst>
            <pc:docMk/>
            <pc:sldMasterMk cId="247768031" sldId="2147483648"/>
            <ac:spMk id="2" creationId="{E5DB7C2E-86C9-41B8-9035-77B6B1E05F36}"/>
          </ac:spMkLst>
        </pc:spChg>
        <pc:sldLayoutChg chg="modSp">
          <pc:chgData name="Thomas Stensitzki" userId="75cafe6b-2f2a-469b-85c4-eec3b9c972ba" providerId="ADAL" clId="{426B5353-CC1A-46F7-AE4E-AA86B8F4A37A}" dt="2023-03-21T09:31:59.001" v="2079" actId="404"/>
          <pc:sldLayoutMkLst>
            <pc:docMk/>
            <pc:sldMasterMk cId="247768031" sldId="2147483648"/>
            <pc:sldLayoutMk cId="1101272467" sldId="2147483650"/>
          </pc:sldLayoutMkLst>
          <pc:spChg chg="mod">
            <ac:chgData name="Thomas Stensitzki" userId="75cafe6b-2f2a-469b-85c4-eec3b9c972ba" providerId="ADAL" clId="{426B5353-CC1A-46F7-AE4E-AA86B8F4A37A}" dt="2023-03-21T09:31:59.001" v="2079" actId="404"/>
            <ac:spMkLst>
              <pc:docMk/>
              <pc:sldMasterMk cId="247768031" sldId="2147483648"/>
              <pc:sldLayoutMk cId="1101272467" sldId="2147483650"/>
              <ac:spMk id="2" creationId="{AACB9185-E44B-479E-9280-F18D8945746E}"/>
            </ac:spMkLst>
          </pc:spChg>
        </pc:sldLayoutChg>
        <pc:sldLayoutChg chg="modSp">
          <pc:chgData name="Thomas Stensitzki" userId="75cafe6b-2f2a-469b-85c4-eec3b9c972ba" providerId="ADAL" clId="{426B5353-CC1A-46F7-AE4E-AA86B8F4A37A}" dt="2023-03-21T09:32:04.916" v="2080" actId="404"/>
          <pc:sldLayoutMkLst>
            <pc:docMk/>
            <pc:sldMasterMk cId="247768031" sldId="2147483648"/>
            <pc:sldLayoutMk cId="3463841358" sldId="2147483652"/>
          </pc:sldLayoutMkLst>
          <pc:spChg chg="mod">
            <ac:chgData name="Thomas Stensitzki" userId="75cafe6b-2f2a-469b-85c4-eec3b9c972ba" providerId="ADAL" clId="{426B5353-CC1A-46F7-AE4E-AA86B8F4A37A}" dt="2023-03-21T09:32:04.916" v="2080" actId="404"/>
            <ac:spMkLst>
              <pc:docMk/>
              <pc:sldMasterMk cId="247768031" sldId="2147483648"/>
              <pc:sldLayoutMk cId="3463841358" sldId="2147483652"/>
              <ac:spMk id="2" creationId="{FF078657-D5B9-45EF-98F3-1B6B5B43A6B7}"/>
            </ac:spMkLst>
          </pc:spChg>
        </pc:sldLayoutChg>
        <pc:sldLayoutChg chg="modSp">
          <pc:chgData name="Thomas Stensitzki" userId="75cafe6b-2f2a-469b-85c4-eec3b9c972ba" providerId="ADAL" clId="{426B5353-CC1A-46F7-AE4E-AA86B8F4A37A}" dt="2023-03-21T09:32:10.414" v="2081" actId="404"/>
          <pc:sldLayoutMkLst>
            <pc:docMk/>
            <pc:sldMasterMk cId="247768031" sldId="2147483648"/>
            <pc:sldLayoutMk cId="4159535620" sldId="2147483653"/>
          </pc:sldLayoutMkLst>
          <pc:spChg chg="mod">
            <ac:chgData name="Thomas Stensitzki" userId="75cafe6b-2f2a-469b-85c4-eec3b9c972ba" providerId="ADAL" clId="{426B5353-CC1A-46F7-AE4E-AA86B8F4A37A}" dt="2023-03-21T09:32:10.414" v="2081" actId="404"/>
            <ac:spMkLst>
              <pc:docMk/>
              <pc:sldMasterMk cId="247768031" sldId="2147483648"/>
              <pc:sldLayoutMk cId="4159535620" sldId="2147483653"/>
              <ac:spMk id="2" creationId="{B3B15B7F-458A-43E9-9512-06B2864B13A3}"/>
            </ac:spMkLst>
          </pc:spChg>
        </pc:sldLayoutChg>
        <pc:sldLayoutChg chg="modSp">
          <pc:chgData name="Thomas Stensitzki" userId="75cafe6b-2f2a-469b-85c4-eec3b9c972ba" providerId="ADAL" clId="{426B5353-CC1A-46F7-AE4E-AA86B8F4A37A}" dt="2023-03-21T09:32:14.853" v="2082" actId="404"/>
          <pc:sldLayoutMkLst>
            <pc:docMk/>
            <pc:sldMasterMk cId="247768031" sldId="2147483648"/>
            <pc:sldLayoutMk cId="2932092287" sldId="2147483654"/>
          </pc:sldLayoutMkLst>
          <pc:spChg chg="mod">
            <ac:chgData name="Thomas Stensitzki" userId="75cafe6b-2f2a-469b-85c4-eec3b9c972ba" providerId="ADAL" clId="{426B5353-CC1A-46F7-AE4E-AA86B8F4A37A}" dt="2023-03-21T09:32:14.853" v="2082" actId="404"/>
            <ac:spMkLst>
              <pc:docMk/>
              <pc:sldMasterMk cId="247768031" sldId="2147483648"/>
              <pc:sldLayoutMk cId="2932092287" sldId="2147483654"/>
              <ac:spMk id="2" creationId="{CE341899-E99D-4571-98BD-4CB63A530A0F}"/>
            </ac:spMkLst>
          </pc:spChg>
        </pc:sldLayoutChg>
      </pc:sldMasterChg>
    </pc:docChg>
  </pc:docChgLst>
  <pc:docChgLst>
    <pc:chgData name="Thomas Stensitzki" userId="75cafe6b-2f2a-469b-85c4-eec3b9c972ba" providerId="ADAL" clId="{3D2749B5-D91D-4721-B325-106381EFF4FD}"/>
    <pc:docChg chg="undo custSel addSld delSld modSld sldOrd addSection delSection modSection">
      <pc:chgData name="Thomas Stensitzki" userId="75cafe6b-2f2a-469b-85c4-eec3b9c972ba" providerId="ADAL" clId="{3D2749B5-D91D-4721-B325-106381EFF4FD}" dt="2020-08-04T08:12:09.013" v="6881" actId="20577"/>
      <pc:docMkLst>
        <pc:docMk/>
      </pc:docMkLst>
      <pc:sldChg chg="modSp mod modTransition">
        <pc:chgData name="Thomas Stensitzki" userId="75cafe6b-2f2a-469b-85c4-eec3b9c972ba" providerId="ADAL" clId="{3D2749B5-D91D-4721-B325-106381EFF4FD}" dt="2020-08-02T11:48:56.169" v="6619"/>
        <pc:sldMkLst>
          <pc:docMk/>
          <pc:sldMk cId="1331178014" sldId="256"/>
        </pc:sldMkLst>
        <pc:spChg chg="mod">
          <ac:chgData name="Thomas Stensitzki" userId="75cafe6b-2f2a-469b-85c4-eec3b9c972ba" providerId="ADAL" clId="{3D2749B5-D91D-4721-B325-106381EFF4FD}" dt="2020-07-28T06:30:13.308" v="15" actId="20577"/>
          <ac:spMkLst>
            <pc:docMk/>
            <pc:sldMk cId="1331178014" sldId="256"/>
            <ac:spMk id="2" creationId="{E137B2CB-D047-404D-B8CC-C662AA78F69E}"/>
          </ac:spMkLst>
        </pc:spChg>
        <pc:spChg chg="mod">
          <ac:chgData name="Thomas Stensitzki" userId="75cafe6b-2f2a-469b-85c4-eec3b9c972ba" providerId="ADAL" clId="{3D2749B5-D91D-4721-B325-106381EFF4FD}" dt="2020-07-28T06:29:58.631" v="1" actId="20577"/>
          <ac:spMkLst>
            <pc:docMk/>
            <pc:sldMk cId="1331178014" sldId="256"/>
            <ac:spMk id="3" creationId="{FD1EE5AE-531F-46B2-BC77-BEC77D90CE70}"/>
          </ac:spMkLst>
        </pc:spChg>
      </pc:sldChg>
      <pc:sldChg chg="addSp modSp mod modTransition">
        <pc:chgData name="Thomas Stensitzki" userId="75cafe6b-2f2a-469b-85c4-eec3b9c972ba" providerId="ADAL" clId="{3D2749B5-D91D-4721-B325-106381EFF4FD}" dt="2020-08-02T12:27:29.040" v="6821" actId="6549"/>
        <pc:sldMkLst>
          <pc:docMk/>
          <pc:sldMk cId="2213403937" sldId="259"/>
        </pc:sldMkLst>
        <pc:spChg chg="mod">
          <ac:chgData name="Thomas Stensitzki" userId="75cafe6b-2f2a-469b-85c4-eec3b9c972ba" providerId="ADAL" clId="{3D2749B5-D91D-4721-B325-106381EFF4FD}" dt="2020-07-28T06:32:56.135" v="45" actId="20577"/>
          <ac:spMkLst>
            <pc:docMk/>
            <pc:sldMk cId="2213403937" sldId="259"/>
            <ac:spMk id="2" creationId="{7BD96291-CA89-40CC-8106-2F22625FFBC2}"/>
          </ac:spMkLst>
        </pc:spChg>
        <pc:spChg chg="mod">
          <ac:chgData name="Thomas Stensitzki" userId="75cafe6b-2f2a-469b-85c4-eec3b9c972ba" providerId="ADAL" clId="{3D2749B5-D91D-4721-B325-106381EFF4FD}" dt="2020-08-01T11:38:10.230" v="1913" actId="6549"/>
          <ac:spMkLst>
            <pc:docMk/>
            <pc:sldMk cId="2213403937" sldId="259"/>
            <ac:spMk id="3" creationId="{929F043B-C787-47A9-8373-4D8587EE4FEA}"/>
          </ac:spMkLst>
        </pc:spChg>
        <pc:spChg chg="mod">
          <ac:chgData name="Thomas Stensitzki" userId="75cafe6b-2f2a-469b-85c4-eec3b9c972ba" providerId="ADAL" clId="{3D2749B5-D91D-4721-B325-106381EFF4FD}" dt="2020-08-02T12:27:29.040" v="6821" actId="6549"/>
          <ac:spMkLst>
            <pc:docMk/>
            <pc:sldMk cId="2213403937" sldId="259"/>
            <ac:spMk id="4" creationId="{1D2D1BF2-DBEA-44D1-B318-6E31D982F99B}"/>
          </ac:spMkLst>
        </pc:spChg>
        <pc:picChg chg="mod">
          <ac:chgData name="Thomas Stensitzki" userId="75cafe6b-2f2a-469b-85c4-eec3b9c972ba" providerId="ADAL" clId="{3D2749B5-D91D-4721-B325-106381EFF4FD}" dt="2020-07-28T06:33:49.594" v="48" actId="1076"/>
          <ac:picMkLst>
            <pc:docMk/>
            <pc:sldMk cId="2213403937" sldId="259"/>
            <ac:picMk id="7" creationId="{1067D39A-54EA-4901-944F-25A9D408CAF7}"/>
          </ac:picMkLst>
        </pc:picChg>
        <pc:picChg chg="mod">
          <ac:chgData name="Thomas Stensitzki" userId="75cafe6b-2f2a-469b-85c4-eec3b9c972ba" providerId="ADAL" clId="{3D2749B5-D91D-4721-B325-106381EFF4FD}" dt="2020-07-28T06:32:37.682" v="37" actId="1076"/>
          <ac:picMkLst>
            <pc:docMk/>
            <pc:sldMk cId="2213403937" sldId="259"/>
            <ac:picMk id="8" creationId="{3FE50C2C-7093-4C6D-BAC5-384AB71DC0FE}"/>
          </ac:picMkLst>
        </pc:picChg>
        <pc:picChg chg="add mod">
          <ac:chgData name="Thomas Stensitzki" userId="75cafe6b-2f2a-469b-85c4-eec3b9c972ba" providerId="ADAL" clId="{3D2749B5-D91D-4721-B325-106381EFF4FD}" dt="2020-07-28T06:33:31.794" v="47"/>
          <ac:picMkLst>
            <pc:docMk/>
            <pc:sldMk cId="2213403937" sldId="259"/>
            <ac:picMk id="9" creationId="{283AE58E-FC69-459F-B336-2D53A0AD784F}"/>
          </ac:picMkLst>
        </pc:picChg>
      </pc:sldChg>
      <pc:sldChg chg="modSp mod modTransition">
        <pc:chgData name="Thomas Stensitzki" userId="75cafe6b-2f2a-469b-85c4-eec3b9c972ba" providerId="ADAL" clId="{3D2749B5-D91D-4721-B325-106381EFF4FD}" dt="2020-08-02T11:48:56.169" v="6619"/>
        <pc:sldMkLst>
          <pc:docMk/>
          <pc:sldMk cId="2987849416" sldId="261"/>
        </pc:sldMkLst>
        <pc:spChg chg="mod">
          <ac:chgData name="Thomas Stensitzki" userId="75cafe6b-2f2a-469b-85c4-eec3b9c972ba" providerId="ADAL" clId="{3D2749B5-D91D-4721-B325-106381EFF4FD}" dt="2020-08-01T13:53:43.012" v="5029"/>
          <ac:spMkLst>
            <pc:docMk/>
            <pc:sldMk cId="2987849416" sldId="261"/>
            <ac:spMk id="3" creationId="{00000000-0000-0000-0000-000000000000}"/>
          </ac:spMkLst>
        </pc:spChg>
      </pc:sldChg>
      <pc:sldChg chg="modSp mod ord modTransition">
        <pc:chgData name="Thomas Stensitzki" userId="75cafe6b-2f2a-469b-85c4-eec3b9c972ba" providerId="ADAL" clId="{3D2749B5-D91D-4721-B325-106381EFF4FD}" dt="2020-08-02T11:48:56.169" v="6619"/>
        <pc:sldMkLst>
          <pc:docMk/>
          <pc:sldMk cId="2223191929" sldId="262"/>
        </pc:sldMkLst>
        <pc:spChg chg="mod">
          <ac:chgData name="Thomas Stensitzki" userId="75cafe6b-2f2a-469b-85c4-eec3b9c972ba" providerId="ADAL" clId="{3D2749B5-D91D-4721-B325-106381EFF4FD}" dt="2020-08-01T12:52:33.035" v="3869" actId="20577"/>
          <ac:spMkLst>
            <pc:docMk/>
            <pc:sldMk cId="2223191929" sldId="262"/>
            <ac:spMk id="4" creationId="{70E8EAA7-76C4-4D2B-81CE-57CA4627D39E}"/>
          </ac:spMkLst>
        </pc:spChg>
        <pc:spChg chg="mod">
          <ac:chgData name="Thomas Stensitzki" userId="75cafe6b-2f2a-469b-85c4-eec3b9c972ba" providerId="ADAL" clId="{3D2749B5-D91D-4721-B325-106381EFF4FD}" dt="2020-08-01T12:52:41.100" v="3892" actId="20577"/>
          <ac:spMkLst>
            <pc:docMk/>
            <pc:sldMk cId="2223191929" sldId="262"/>
            <ac:spMk id="5" creationId="{94140262-613E-47E0-8110-F2C2EDE2EFD9}"/>
          </ac:spMkLst>
        </pc:spChg>
      </pc:sldChg>
      <pc:sldChg chg="del">
        <pc:chgData name="Thomas Stensitzki" userId="75cafe6b-2f2a-469b-85c4-eec3b9c972ba" providerId="ADAL" clId="{3D2749B5-D91D-4721-B325-106381EFF4FD}" dt="2020-08-01T12:39:17.892" v="3043" actId="47"/>
        <pc:sldMkLst>
          <pc:docMk/>
          <pc:sldMk cId="1216927561" sldId="263"/>
        </pc:sldMkLst>
      </pc:sldChg>
      <pc:sldChg chg="addSp">
        <pc:chgData name="Thomas Stensitzki" userId="75cafe6b-2f2a-469b-85c4-eec3b9c972ba" providerId="ADAL" clId="{3D2749B5-D91D-4721-B325-106381EFF4FD}" dt="2020-08-01T12:00:43.828" v="2283"/>
        <pc:sldMkLst>
          <pc:docMk/>
          <pc:sldMk cId="1159820292" sldId="264"/>
        </pc:sldMkLst>
        <pc:picChg chg="add">
          <ac:chgData name="Thomas Stensitzki" userId="75cafe6b-2f2a-469b-85c4-eec3b9c972ba" providerId="ADAL" clId="{3D2749B5-D91D-4721-B325-106381EFF4FD}" dt="2020-08-01T12:00:43.828" v="2283"/>
          <ac:picMkLst>
            <pc:docMk/>
            <pc:sldMk cId="1159820292" sldId="264"/>
            <ac:picMk id="3074" creationId="{4D792120-D6DB-4EFC-8ECE-ADC28942BBF7}"/>
          </ac:picMkLst>
        </pc:picChg>
      </pc:sldChg>
      <pc:sldChg chg="delSp modSp add del mod ord modTransition modAnim">
        <pc:chgData name="Thomas Stensitzki" userId="75cafe6b-2f2a-469b-85c4-eec3b9c972ba" providerId="ADAL" clId="{3D2749B5-D91D-4721-B325-106381EFF4FD}" dt="2020-08-04T08:08:52.692" v="6833" actId="20577"/>
        <pc:sldMkLst>
          <pc:docMk/>
          <pc:sldMk cId="2891192093" sldId="264"/>
        </pc:sldMkLst>
        <pc:spChg chg="mod">
          <ac:chgData name="Thomas Stensitzki" userId="75cafe6b-2f2a-469b-85c4-eec3b9c972ba" providerId="ADAL" clId="{3D2749B5-D91D-4721-B325-106381EFF4FD}" dt="2020-08-01T11:37:00.241" v="1846" actId="20577"/>
          <ac:spMkLst>
            <pc:docMk/>
            <pc:sldMk cId="2891192093" sldId="264"/>
            <ac:spMk id="2" creationId="{9C01191A-C028-4B34-8578-B4A5A049BD70}"/>
          </ac:spMkLst>
        </pc:spChg>
        <pc:spChg chg="mod">
          <ac:chgData name="Thomas Stensitzki" userId="75cafe6b-2f2a-469b-85c4-eec3b9c972ba" providerId="ADAL" clId="{3D2749B5-D91D-4721-B325-106381EFF4FD}" dt="2020-08-04T08:08:52.692" v="6833" actId="20577"/>
          <ac:spMkLst>
            <pc:docMk/>
            <pc:sldMk cId="2891192093" sldId="264"/>
            <ac:spMk id="3" creationId="{9F2654DB-0DD0-4511-8179-3FCE4F01A7E8}"/>
          </ac:spMkLst>
        </pc:spChg>
        <pc:picChg chg="del mod">
          <ac:chgData name="Thomas Stensitzki" userId="75cafe6b-2f2a-469b-85c4-eec3b9c972ba" providerId="ADAL" clId="{3D2749B5-D91D-4721-B325-106381EFF4FD}" dt="2020-08-01T12:02:19.689" v="2300" actId="478"/>
          <ac:picMkLst>
            <pc:docMk/>
            <pc:sldMk cId="2891192093" sldId="264"/>
            <ac:picMk id="3074" creationId="{4D792120-D6DB-4EFC-8ECE-ADC28942BBF7}"/>
          </ac:picMkLst>
        </pc:picChg>
      </pc:sldChg>
      <pc:sldChg chg="del">
        <pc:chgData name="Thomas Stensitzki" userId="75cafe6b-2f2a-469b-85c4-eec3b9c972ba" providerId="ADAL" clId="{3D2749B5-D91D-4721-B325-106381EFF4FD}" dt="2020-08-01T11:38:22.256" v="1914" actId="47"/>
        <pc:sldMkLst>
          <pc:docMk/>
          <pc:sldMk cId="1125716619" sldId="265"/>
        </pc:sldMkLst>
      </pc:sldChg>
      <pc:sldChg chg="del">
        <pc:chgData name="Thomas Stensitzki" userId="75cafe6b-2f2a-469b-85c4-eec3b9c972ba" providerId="ADAL" clId="{3D2749B5-D91D-4721-B325-106381EFF4FD}" dt="2020-08-01T12:39:17.892" v="3043" actId="47"/>
        <pc:sldMkLst>
          <pc:docMk/>
          <pc:sldMk cId="255511709" sldId="266"/>
        </pc:sldMkLst>
      </pc:sldChg>
      <pc:sldChg chg="del">
        <pc:chgData name="Thomas Stensitzki" userId="75cafe6b-2f2a-469b-85c4-eec3b9c972ba" providerId="ADAL" clId="{3D2749B5-D91D-4721-B325-106381EFF4FD}" dt="2020-08-01T12:39:17.892" v="3043" actId="47"/>
        <pc:sldMkLst>
          <pc:docMk/>
          <pc:sldMk cId="46463388" sldId="267"/>
        </pc:sldMkLst>
      </pc:sldChg>
      <pc:sldChg chg="addSp delSp modSp del mod ord modTransition delAnim modAnim">
        <pc:chgData name="Thomas Stensitzki" userId="75cafe6b-2f2a-469b-85c4-eec3b9c972ba" providerId="ADAL" clId="{3D2749B5-D91D-4721-B325-106381EFF4FD}" dt="2020-08-02T11:42:34.521" v="6120" actId="2696"/>
        <pc:sldMkLst>
          <pc:docMk/>
          <pc:sldMk cId="1180189243" sldId="268"/>
        </pc:sldMkLst>
        <pc:spChg chg="del mod">
          <ac:chgData name="Thomas Stensitzki" userId="75cafe6b-2f2a-469b-85c4-eec3b9c972ba" providerId="ADAL" clId="{3D2749B5-D91D-4721-B325-106381EFF4FD}" dt="2020-08-01T13:57:56.471" v="5066" actId="478"/>
          <ac:spMkLst>
            <pc:docMk/>
            <pc:sldMk cId="1180189243" sldId="268"/>
            <ac:spMk id="2" creationId="{4DD3F7A9-257D-4BF3-9121-D0E89A2F2AEA}"/>
          </ac:spMkLst>
        </pc:spChg>
        <pc:spChg chg="del mod">
          <ac:chgData name="Thomas Stensitzki" userId="75cafe6b-2f2a-469b-85c4-eec3b9c972ba" providerId="ADAL" clId="{3D2749B5-D91D-4721-B325-106381EFF4FD}" dt="2020-08-01T12:55:13.904" v="3919" actId="478"/>
          <ac:spMkLst>
            <pc:docMk/>
            <pc:sldMk cId="1180189243" sldId="268"/>
            <ac:spMk id="3" creationId="{0DA036AE-58DD-403C-9D3A-A0580D0ED6C7}"/>
          </ac:spMkLst>
        </pc:spChg>
        <pc:spChg chg="add del mod">
          <ac:chgData name="Thomas Stensitzki" userId="75cafe6b-2f2a-469b-85c4-eec3b9c972ba" providerId="ADAL" clId="{3D2749B5-D91D-4721-B325-106381EFF4FD}" dt="2020-08-01T13:54:16.706" v="5031" actId="478"/>
          <ac:spMkLst>
            <pc:docMk/>
            <pc:sldMk cId="1180189243" sldId="268"/>
            <ac:spMk id="4" creationId="{8B151654-157C-4D75-975C-B6F00E483C18}"/>
          </ac:spMkLst>
        </pc:spChg>
        <pc:spChg chg="del">
          <ac:chgData name="Thomas Stensitzki" userId="75cafe6b-2f2a-469b-85c4-eec3b9c972ba" providerId="ADAL" clId="{3D2749B5-D91D-4721-B325-106381EFF4FD}" dt="2020-08-01T12:49:15.101" v="3834" actId="478"/>
          <ac:spMkLst>
            <pc:docMk/>
            <pc:sldMk cId="1180189243" sldId="268"/>
            <ac:spMk id="4" creationId="{9489B37B-112C-4075-B5BC-993176FA7E43}"/>
          </ac:spMkLst>
        </pc:spChg>
        <pc:spChg chg="add mod">
          <ac:chgData name="Thomas Stensitzki" userId="75cafe6b-2f2a-469b-85c4-eec3b9c972ba" providerId="ADAL" clId="{3D2749B5-D91D-4721-B325-106381EFF4FD}" dt="2020-08-01T13:59:17.821" v="5085" actId="207"/>
          <ac:spMkLst>
            <pc:docMk/>
            <pc:sldMk cId="1180189243" sldId="268"/>
            <ac:spMk id="5" creationId="{945EFCB1-06B5-4B9C-A1B5-EBC8AA25C7AE}"/>
          </ac:spMkLst>
        </pc:spChg>
        <pc:spChg chg="add mod">
          <ac:chgData name="Thomas Stensitzki" userId="75cafe6b-2f2a-469b-85c4-eec3b9c972ba" providerId="ADAL" clId="{3D2749B5-D91D-4721-B325-106381EFF4FD}" dt="2020-08-01T14:11:00.807" v="5398" actId="20577"/>
          <ac:spMkLst>
            <pc:docMk/>
            <pc:sldMk cId="1180189243" sldId="268"/>
            <ac:spMk id="6" creationId="{0F4AED1A-4A79-4B88-9332-C0153E59EB27}"/>
          </ac:spMkLst>
        </pc:spChg>
        <pc:spChg chg="add del mod">
          <ac:chgData name="Thomas Stensitzki" userId="75cafe6b-2f2a-469b-85c4-eec3b9c972ba" providerId="ADAL" clId="{3D2749B5-D91D-4721-B325-106381EFF4FD}" dt="2020-08-01T12:55:23.704" v="3920" actId="3680"/>
          <ac:spMkLst>
            <pc:docMk/>
            <pc:sldMk cId="1180189243" sldId="268"/>
            <ac:spMk id="6" creationId="{D2D71B39-83B0-4E9F-8900-DFD4D2A4B6CC}"/>
          </ac:spMkLst>
        </pc:spChg>
        <pc:spChg chg="add mod">
          <ac:chgData name="Thomas Stensitzki" userId="75cafe6b-2f2a-469b-85c4-eec3b9c972ba" providerId="ADAL" clId="{3D2749B5-D91D-4721-B325-106381EFF4FD}" dt="2020-08-01T14:10:13.431" v="5353" actId="113"/>
          <ac:spMkLst>
            <pc:docMk/>
            <pc:sldMk cId="1180189243" sldId="268"/>
            <ac:spMk id="9" creationId="{82DF6530-CB25-43FA-800C-A13CE8A5159F}"/>
          </ac:spMkLst>
        </pc:spChg>
        <pc:spChg chg="add mod">
          <ac:chgData name="Thomas Stensitzki" userId="75cafe6b-2f2a-469b-85c4-eec3b9c972ba" providerId="ADAL" clId="{3D2749B5-D91D-4721-B325-106381EFF4FD}" dt="2020-08-01T14:09:45.030" v="5331" actId="113"/>
          <ac:spMkLst>
            <pc:docMk/>
            <pc:sldMk cId="1180189243" sldId="268"/>
            <ac:spMk id="11" creationId="{66A44AB1-0D31-437D-88D8-979022F11AAD}"/>
          </ac:spMkLst>
        </pc:spChg>
        <pc:spChg chg="add mod">
          <ac:chgData name="Thomas Stensitzki" userId="75cafe6b-2f2a-469b-85c4-eec3b9c972ba" providerId="ADAL" clId="{3D2749B5-D91D-4721-B325-106381EFF4FD}" dt="2020-08-01T14:12:00.111" v="5453" actId="20577"/>
          <ac:spMkLst>
            <pc:docMk/>
            <pc:sldMk cId="1180189243" sldId="268"/>
            <ac:spMk id="13" creationId="{72703131-71CF-4346-9B1A-BA7C3BEB66B5}"/>
          </ac:spMkLst>
        </pc:spChg>
        <pc:spChg chg="add mod">
          <ac:chgData name="Thomas Stensitzki" userId="75cafe6b-2f2a-469b-85c4-eec3b9c972ba" providerId="ADAL" clId="{3D2749B5-D91D-4721-B325-106381EFF4FD}" dt="2020-08-01T14:11:52.916" v="5451" actId="113"/>
          <ac:spMkLst>
            <pc:docMk/>
            <pc:sldMk cId="1180189243" sldId="268"/>
            <ac:spMk id="15" creationId="{C4EF9DD6-5B27-4E5F-9542-CF79BE603492}"/>
          </ac:spMkLst>
        </pc:spChg>
        <pc:spChg chg="add del mod">
          <ac:chgData name="Thomas Stensitzki" userId="75cafe6b-2f2a-469b-85c4-eec3b9c972ba" providerId="ADAL" clId="{3D2749B5-D91D-4721-B325-106381EFF4FD}" dt="2020-08-01T14:20:02.035" v="5840" actId="478"/>
          <ac:spMkLst>
            <pc:docMk/>
            <pc:sldMk cId="1180189243" sldId="268"/>
            <ac:spMk id="16" creationId="{41E7A306-0527-46B6-919F-9DFA849B7D58}"/>
          </ac:spMkLst>
        </pc:spChg>
        <pc:spChg chg="add del mod">
          <ac:chgData name="Thomas Stensitzki" userId="75cafe6b-2f2a-469b-85c4-eec3b9c972ba" providerId="ADAL" clId="{3D2749B5-D91D-4721-B325-106381EFF4FD}" dt="2020-08-01T14:22:19.974" v="5970" actId="478"/>
          <ac:spMkLst>
            <pc:docMk/>
            <pc:sldMk cId="1180189243" sldId="268"/>
            <ac:spMk id="18" creationId="{4887116E-6F32-4DD2-B5E7-9215519F6B4B}"/>
          </ac:spMkLst>
        </pc:spChg>
        <pc:spChg chg="add del mod">
          <ac:chgData name="Thomas Stensitzki" userId="75cafe6b-2f2a-469b-85c4-eec3b9c972ba" providerId="ADAL" clId="{3D2749B5-D91D-4721-B325-106381EFF4FD}" dt="2020-08-01T14:16:55.486" v="5716" actId="478"/>
          <ac:spMkLst>
            <pc:docMk/>
            <pc:sldMk cId="1180189243" sldId="268"/>
            <ac:spMk id="20" creationId="{9CDE2BAE-65C7-4447-9D34-61376FD1CDF3}"/>
          </ac:spMkLst>
        </pc:spChg>
        <pc:spChg chg="add del mod">
          <ac:chgData name="Thomas Stensitzki" userId="75cafe6b-2f2a-469b-85c4-eec3b9c972ba" providerId="ADAL" clId="{3D2749B5-D91D-4721-B325-106381EFF4FD}" dt="2020-08-01T14:15:18.336" v="5630" actId="478"/>
          <ac:spMkLst>
            <pc:docMk/>
            <pc:sldMk cId="1180189243" sldId="268"/>
            <ac:spMk id="22" creationId="{B4A3EDD0-6EEB-4EAA-BCF6-40C51D0E41DC}"/>
          </ac:spMkLst>
        </pc:spChg>
        <pc:spChg chg="add mod">
          <ac:chgData name="Thomas Stensitzki" userId="75cafe6b-2f2a-469b-85c4-eec3b9c972ba" providerId="ADAL" clId="{3D2749B5-D91D-4721-B325-106381EFF4FD}" dt="2020-08-01T14:14:03.468" v="5560" actId="1076"/>
          <ac:spMkLst>
            <pc:docMk/>
            <pc:sldMk cId="1180189243" sldId="268"/>
            <ac:spMk id="24" creationId="{E55675EB-78E3-45F3-96A9-2141C0071EA7}"/>
          </ac:spMkLst>
        </pc:spChg>
        <pc:spChg chg="add del mod">
          <ac:chgData name="Thomas Stensitzki" userId="75cafe6b-2f2a-469b-85c4-eec3b9c972ba" providerId="ADAL" clId="{3D2749B5-D91D-4721-B325-106381EFF4FD}" dt="2020-08-01T13:57:58.671" v="5067" actId="478"/>
          <ac:spMkLst>
            <pc:docMk/>
            <pc:sldMk cId="1180189243" sldId="268"/>
            <ac:spMk id="26" creationId="{413B9204-EAD2-427E-A8E0-6A3C8ED72C6A}"/>
          </ac:spMkLst>
        </pc:spChg>
        <pc:spChg chg="add del mod">
          <ac:chgData name="Thomas Stensitzki" userId="75cafe6b-2f2a-469b-85c4-eec3b9c972ba" providerId="ADAL" clId="{3D2749B5-D91D-4721-B325-106381EFF4FD}" dt="2020-08-01T14:14:20.449" v="5561" actId="478"/>
          <ac:spMkLst>
            <pc:docMk/>
            <pc:sldMk cId="1180189243" sldId="268"/>
            <ac:spMk id="28" creationId="{825ADF0A-5936-409D-A858-6C31386AA5EF}"/>
          </ac:spMkLst>
        </pc:spChg>
        <pc:spChg chg="add del mod">
          <ac:chgData name="Thomas Stensitzki" userId="75cafe6b-2f2a-469b-85c4-eec3b9c972ba" providerId="ADAL" clId="{3D2749B5-D91D-4721-B325-106381EFF4FD}" dt="2020-08-01T14:19:39.526" v="5836" actId="478"/>
          <ac:spMkLst>
            <pc:docMk/>
            <pc:sldMk cId="1180189243" sldId="268"/>
            <ac:spMk id="30" creationId="{B2BB71CD-4C9A-44FC-B7FF-69669DC15EB4}"/>
          </ac:spMkLst>
        </pc:spChg>
        <pc:spChg chg="add del">
          <ac:chgData name="Thomas Stensitzki" userId="75cafe6b-2f2a-469b-85c4-eec3b9c972ba" providerId="ADAL" clId="{3D2749B5-D91D-4721-B325-106381EFF4FD}" dt="2020-08-01T13:58:27.964" v="5074" actId="478"/>
          <ac:spMkLst>
            <pc:docMk/>
            <pc:sldMk cId="1180189243" sldId="268"/>
            <ac:spMk id="32" creationId="{79EAEC9F-1DEB-4576-B4CE-60294FF86EC6}"/>
          </ac:spMkLst>
        </pc:spChg>
        <pc:spChg chg="add mod">
          <ac:chgData name="Thomas Stensitzki" userId="75cafe6b-2f2a-469b-85c4-eec3b9c972ba" providerId="ADAL" clId="{3D2749B5-D91D-4721-B325-106381EFF4FD}" dt="2020-08-01T14:07:08.024" v="5235" actId="1076"/>
          <ac:spMkLst>
            <pc:docMk/>
            <pc:sldMk cId="1180189243" sldId="268"/>
            <ac:spMk id="188" creationId="{1C591AC8-60D0-4CBD-8544-3387940FDA7A}"/>
          </ac:spMkLst>
        </pc:spChg>
        <pc:spChg chg="add mod">
          <ac:chgData name="Thomas Stensitzki" userId="75cafe6b-2f2a-469b-85c4-eec3b9c972ba" providerId="ADAL" clId="{3D2749B5-D91D-4721-B325-106381EFF4FD}" dt="2020-08-01T14:06:41.468" v="5227" actId="1076"/>
          <ac:spMkLst>
            <pc:docMk/>
            <pc:sldMk cId="1180189243" sldId="268"/>
            <ac:spMk id="190" creationId="{9D10E621-A49A-4888-8EF4-98EC8DA6803A}"/>
          </ac:spMkLst>
        </pc:spChg>
        <pc:spChg chg="add mod">
          <ac:chgData name="Thomas Stensitzki" userId="75cafe6b-2f2a-469b-85c4-eec3b9c972ba" providerId="ADAL" clId="{3D2749B5-D91D-4721-B325-106381EFF4FD}" dt="2020-08-01T14:07:12.997" v="5236" actId="1076"/>
          <ac:spMkLst>
            <pc:docMk/>
            <pc:sldMk cId="1180189243" sldId="268"/>
            <ac:spMk id="192" creationId="{B8F06E40-615E-4446-B968-5A7B4D511002}"/>
          </ac:spMkLst>
        </pc:spChg>
        <pc:spChg chg="add mod">
          <ac:chgData name="Thomas Stensitzki" userId="75cafe6b-2f2a-469b-85c4-eec3b9c972ba" providerId="ADAL" clId="{3D2749B5-D91D-4721-B325-106381EFF4FD}" dt="2020-08-01T14:06:57.824" v="5232" actId="1076"/>
          <ac:spMkLst>
            <pc:docMk/>
            <pc:sldMk cId="1180189243" sldId="268"/>
            <ac:spMk id="194" creationId="{657722D1-7DBE-443C-A49D-4AA945364970}"/>
          </ac:spMkLst>
        </pc:spChg>
        <pc:spChg chg="add mod">
          <ac:chgData name="Thomas Stensitzki" userId="75cafe6b-2f2a-469b-85c4-eec3b9c972ba" providerId="ADAL" clId="{3D2749B5-D91D-4721-B325-106381EFF4FD}" dt="2020-08-01T14:07:04.153" v="5234" actId="1076"/>
          <ac:spMkLst>
            <pc:docMk/>
            <pc:sldMk cId="1180189243" sldId="268"/>
            <ac:spMk id="196" creationId="{CC137329-0491-4633-B376-D6950ED58244}"/>
          </ac:spMkLst>
        </pc:spChg>
        <pc:spChg chg="add mod">
          <ac:chgData name="Thomas Stensitzki" userId="75cafe6b-2f2a-469b-85c4-eec3b9c972ba" providerId="ADAL" clId="{3D2749B5-D91D-4721-B325-106381EFF4FD}" dt="2020-08-01T14:07:24.848" v="5238" actId="1076"/>
          <ac:spMkLst>
            <pc:docMk/>
            <pc:sldMk cId="1180189243" sldId="268"/>
            <ac:spMk id="198" creationId="{796EB168-1D60-4A21-830F-48802BAC8AC7}"/>
          </ac:spMkLst>
        </pc:spChg>
        <pc:spChg chg="add mod">
          <ac:chgData name="Thomas Stensitzki" userId="75cafe6b-2f2a-469b-85c4-eec3b9c972ba" providerId="ADAL" clId="{3D2749B5-D91D-4721-B325-106381EFF4FD}" dt="2020-08-01T14:07:42.847" v="5247" actId="1076"/>
          <ac:spMkLst>
            <pc:docMk/>
            <pc:sldMk cId="1180189243" sldId="268"/>
            <ac:spMk id="200" creationId="{4D69F813-1C6B-4D64-8EE9-B2693AA00EDF}"/>
          </ac:spMkLst>
        </pc:spChg>
        <pc:spChg chg="add mod">
          <ac:chgData name="Thomas Stensitzki" userId="75cafe6b-2f2a-469b-85c4-eec3b9c972ba" providerId="ADAL" clId="{3D2749B5-D91D-4721-B325-106381EFF4FD}" dt="2020-08-01T14:07:51.865" v="5249" actId="1076"/>
          <ac:spMkLst>
            <pc:docMk/>
            <pc:sldMk cId="1180189243" sldId="268"/>
            <ac:spMk id="202" creationId="{FEF5C52C-3F0E-4D39-BBDE-FA9DC0592532}"/>
          </ac:spMkLst>
        </pc:spChg>
        <pc:spChg chg="add mod">
          <ac:chgData name="Thomas Stensitzki" userId="75cafe6b-2f2a-469b-85c4-eec3b9c972ba" providerId="ADAL" clId="{3D2749B5-D91D-4721-B325-106381EFF4FD}" dt="2020-08-01T14:08:02.018" v="5251" actId="1076"/>
          <ac:spMkLst>
            <pc:docMk/>
            <pc:sldMk cId="1180189243" sldId="268"/>
            <ac:spMk id="204" creationId="{31506451-D091-4458-82B6-9F5931F0ACAE}"/>
          </ac:spMkLst>
        </pc:spChg>
        <pc:spChg chg="add mod">
          <ac:chgData name="Thomas Stensitzki" userId="75cafe6b-2f2a-469b-85c4-eec3b9c972ba" providerId="ADAL" clId="{3D2749B5-D91D-4721-B325-106381EFF4FD}" dt="2020-08-01T14:08:09.082" v="5253" actId="1076"/>
          <ac:spMkLst>
            <pc:docMk/>
            <pc:sldMk cId="1180189243" sldId="268"/>
            <ac:spMk id="206" creationId="{134898B8-5BC5-4E67-A715-2A8111CAFF48}"/>
          </ac:spMkLst>
        </pc:spChg>
        <pc:spChg chg="add mod">
          <ac:chgData name="Thomas Stensitzki" userId="75cafe6b-2f2a-469b-85c4-eec3b9c972ba" providerId="ADAL" clId="{3D2749B5-D91D-4721-B325-106381EFF4FD}" dt="2020-08-01T14:08:18.407" v="5255" actId="1076"/>
          <ac:spMkLst>
            <pc:docMk/>
            <pc:sldMk cId="1180189243" sldId="268"/>
            <ac:spMk id="208" creationId="{3FFAFA64-5B5A-458D-AC27-141786482250}"/>
          </ac:spMkLst>
        </pc:spChg>
        <pc:spChg chg="add mod">
          <ac:chgData name="Thomas Stensitzki" userId="75cafe6b-2f2a-469b-85c4-eec3b9c972ba" providerId="ADAL" clId="{3D2749B5-D91D-4721-B325-106381EFF4FD}" dt="2020-08-01T14:08:24.863" v="5257" actId="1076"/>
          <ac:spMkLst>
            <pc:docMk/>
            <pc:sldMk cId="1180189243" sldId="268"/>
            <ac:spMk id="210" creationId="{10CD021A-DD0D-4A77-9E69-5C0EC53F5EBE}"/>
          </ac:spMkLst>
        </pc:spChg>
        <pc:spChg chg="add mod">
          <ac:chgData name="Thomas Stensitzki" userId="75cafe6b-2f2a-469b-85c4-eec3b9c972ba" providerId="ADAL" clId="{3D2749B5-D91D-4721-B325-106381EFF4FD}" dt="2020-08-01T14:08:34.507" v="5259" actId="1076"/>
          <ac:spMkLst>
            <pc:docMk/>
            <pc:sldMk cId="1180189243" sldId="268"/>
            <ac:spMk id="212" creationId="{C7EAE7A5-165F-4C3E-98A4-E27344BFA41C}"/>
          </ac:spMkLst>
        </pc:spChg>
        <pc:spChg chg="add mod">
          <ac:chgData name="Thomas Stensitzki" userId="75cafe6b-2f2a-469b-85c4-eec3b9c972ba" providerId="ADAL" clId="{3D2749B5-D91D-4721-B325-106381EFF4FD}" dt="2020-08-01T14:15:09.043" v="5629" actId="20577"/>
          <ac:spMkLst>
            <pc:docMk/>
            <pc:sldMk cId="1180189243" sldId="268"/>
            <ac:spMk id="221" creationId="{8D04AEC6-1C21-4A21-8F42-64CB7054236E}"/>
          </ac:spMkLst>
        </pc:spChg>
        <pc:spChg chg="add mod">
          <ac:chgData name="Thomas Stensitzki" userId="75cafe6b-2f2a-469b-85c4-eec3b9c972ba" providerId="ADAL" clId="{3D2749B5-D91D-4721-B325-106381EFF4FD}" dt="2020-08-01T14:16:39.529" v="5714" actId="20577"/>
          <ac:spMkLst>
            <pc:docMk/>
            <pc:sldMk cId="1180189243" sldId="268"/>
            <ac:spMk id="226" creationId="{1D787995-FCDA-4D77-8B26-16E3C1C95792}"/>
          </ac:spMkLst>
        </pc:spChg>
        <pc:spChg chg="add mod">
          <ac:chgData name="Thomas Stensitzki" userId="75cafe6b-2f2a-469b-85c4-eec3b9c972ba" providerId="ADAL" clId="{3D2749B5-D91D-4721-B325-106381EFF4FD}" dt="2020-08-01T14:19:16.906" v="5835" actId="33524"/>
          <ac:spMkLst>
            <pc:docMk/>
            <pc:sldMk cId="1180189243" sldId="268"/>
            <ac:spMk id="231" creationId="{FE2603B8-B190-4BB1-AE02-327B3ED8F86E}"/>
          </ac:spMkLst>
        </pc:spChg>
        <pc:spChg chg="add mod">
          <ac:chgData name="Thomas Stensitzki" userId="75cafe6b-2f2a-469b-85c4-eec3b9c972ba" providerId="ADAL" clId="{3D2749B5-D91D-4721-B325-106381EFF4FD}" dt="2020-08-01T14:19:59.989" v="5839"/>
          <ac:spMkLst>
            <pc:docMk/>
            <pc:sldMk cId="1180189243" sldId="268"/>
            <ac:spMk id="237" creationId="{1A2B8B58-B957-4915-9155-8B7EE64CC47D}"/>
          </ac:spMkLst>
        </pc:spChg>
        <pc:spChg chg="add mod">
          <ac:chgData name="Thomas Stensitzki" userId="75cafe6b-2f2a-469b-85c4-eec3b9c972ba" providerId="ADAL" clId="{3D2749B5-D91D-4721-B325-106381EFF4FD}" dt="2020-08-01T14:22:12.729" v="5969" actId="20577"/>
          <ac:spMkLst>
            <pc:docMk/>
            <pc:sldMk cId="1180189243" sldId="268"/>
            <ac:spMk id="239" creationId="{27D73A49-F427-48CC-AC76-4FC7E8F0DA3C}"/>
          </ac:spMkLst>
        </pc:spChg>
        <pc:spChg chg="add mod">
          <ac:chgData name="Thomas Stensitzki" userId="75cafe6b-2f2a-469b-85c4-eec3b9c972ba" providerId="ADAL" clId="{3D2749B5-D91D-4721-B325-106381EFF4FD}" dt="2020-08-01T14:22:29.198" v="5972" actId="1076"/>
          <ac:spMkLst>
            <pc:docMk/>
            <pc:sldMk cId="1180189243" sldId="268"/>
            <ac:spMk id="241" creationId="{4A35BEFB-75E9-49FC-BD8C-22688917A57B}"/>
          </ac:spMkLst>
        </pc:spChg>
        <pc:graphicFrameChg chg="add del mod ord modGraphic">
          <ac:chgData name="Thomas Stensitzki" userId="75cafe6b-2f2a-469b-85c4-eec3b9c972ba" providerId="ADAL" clId="{3D2749B5-D91D-4721-B325-106381EFF4FD}" dt="2020-08-01T13:54:14.861" v="5030" actId="478"/>
          <ac:graphicFrameMkLst>
            <pc:docMk/>
            <pc:sldMk cId="1180189243" sldId="268"/>
            <ac:graphicFrameMk id="7" creationId="{849F926D-A1A8-4CDC-9474-6CB32B658162}"/>
          </ac:graphicFrameMkLst>
        </pc:graphicFrameChg>
        <pc:cxnChg chg="add mod">
          <ac:chgData name="Thomas Stensitzki" userId="75cafe6b-2f2a-469b-85c4-eec3b9c972ba" providerId="ADAL" clId="{3D2749B5-D91D-4721-B325-106381EFF4FD}" dt="2020-08-01T14:14:03.468" v="5560" actId="1076"/>
          <ac:cxnSpMkLst>
            <pc:docMk/>
            <pc:sldMk cId="1180189243" sldId="268"/>
            <ac:cxnSpMk id="34" creationId="{F176E809-94FF-4F98-9284-F584F57F5B14}"/>
          </ac:cxnSpMkLst>
        </pc:cxnChg>
        <pc:cxnChg chg="add mod">
          <ac:chgData name="Thomas Stensitzki" userId="75cafe6b-2f2a-469b-85c4-eec3b9c972ba" providerId="ADAL" clId="{3D2749B5-D91D-4721-B325-106381EFF4FD}" dt="2020-08-01T14:15:42.447" v="5633" actId="14100"/>
          <ac:cxnSpMkLst>
            <pc:docMk/>
            <pc:sldMk cId="1180189243" sldId="268"/>
            <ac:cxnSpMk id="36" creationId="{61C31A10-EB0C-40BC-A674-2CF4095559B4}"/>
          </ac:cxnSpMkLst>
        </pc:cxnChg>
        <pc:cxnChg chg="add mod">
          <ac:chgData name="Thomas Stensitzki" userId="75cafe6b-2f2a-469b-85c4-eec3b9c972ba" providerId="ADAL" clId="{3D2749B5-D91D-4721-B325-106381EFF4FD}" dt="2020-08-01T14:17:30.606" v="5720" actId="14100"/>
          <ac:cxnSpMkLst>
            <pc:docMk/>
            <pc:sldMk cId="1180189243" sldId="268"/>
            <ac:cxnSpMk id="38" creationId="{928FE1CA-353C-4045-A0B2-3AE70C4E6B9F}"/>
          </ac:cxnSpMkLst>
        </pc:cxnChg>
        <pc:cxnChg chg="add del mod">
          <ac:chgData name="Thomas Stensitzki" userId="75cafe6b-2f2a-469b-85c4-eec3b9c972ba" providerId="ADAL" clId="{3D2749B5-D91D-4721-B325-106381EFF4FD}" dt="2020-08-01T14:00:10.709" v="5162" actId="478"/>
          <ac:cxnSpMkLst>
            <pc:docMk/>
            <pc:sldMk cId="1180189243" sldId="268"/>
            <ac:cxnSpMk id="40" creationId="{43194147-769A-4FE7-B504-53E78A78F5D3}"/>
          </ac:cxnSpMkLst>
        </pc:cxnChg>
        <pc:cxnChg chg="add del mod">
          <ac:chgData name="Thomas Stensitzki" userId="75cafe6b-2f2a-469b-85c4-eec3b9c972ba" providerId="ADAL" clId="{3D2749B5-D91D-4721-B325-106381EFF4FD}" dt="2020-08-01T14:00:10.709" v="5162" actId="478"/>
          <ac:cxnSpMkLst>
            <pc:docMk/>
            <pc:sldMk cId="1180189243" sldId="268"/>
            <ac:cxnSpMk id="42" creationId="{66E0A6A7-0B69-4433-88A9-47D177CA6FED}"/>
          </ac:cxnSpMkLst>
        </pc:cxnChg>
        <pc:cxnChg chg="add del mod">
          <ac:chgData name="Thomas Stensitzki" userId="75cafe6b-2f2a-469b-85c4-eec3b9c972ba" providerId="ADAL" clId="{3D2749B5-D91D-4721-B325-106381EFF4FD}" dt="2020-08-01T14:00:10.709" v="5162" actId="478"/>
          <ac:cxnSpMkLst>
            <pc:docMk/>
            <pc:sldMk cId="1180189243" sldId="268"/>
            <ac:cxnSpMk id="44" creationId="{6920E685-5701-441F-BEE6-D50020540CD4}"/>
          </ac:cxnSpMkLst>
        </pc:cxnChg>
        <pc:cxnChg chg="add del mod">
          <ac:chgData name="Thomas Stensitzki" userId="75cafe6b-2f2a-469b-85c4-eec3b9c972ba" providerId="ADAL" clId="{3D2749B5-D91D-4721-B325-106381EFF4FD}" dt="2020-08-01T14:00:10.709" v="5162" actId="478"/>
          <ac:cxnSpMkLst>
            <pc:docMk/>
            <pc:sldMk cId="1180189243" sldId="268"/>
            <ac:cxnSpMk id="46" creationId="{1D82B718-6425-4F08-A7A6-66EA67D27CF4}"/>
          </ac:cxnSpMkLst>
        </pc:cxnChg>
        <pc:cxnChg chg="add del mod">
          <ac:chgData name="Thomas Stensitzki" userId="75cafe6b-2f2a-469b-85c4-eec3b9c972ba" providerId="ADAL" clId="{3D2749B5-D91D-4721-B325-106381EFF4FD}" dt="2020-08-01T14:00:10.709" v="5162" actId="478"/>
          <ac:cxnSpMkLst>
            <pc:docMk/>
            <pc:sldMk cId="1180189243" sldId="268"/>
            <ac:cxnSpMk id="48" creationId="{A568430F-395D-4E27-AFE4-BFC59B4833BA}"/>
          </ac:cxnSpMkLst>
        </pc:cxnChg>
        <pc:cxnChg chg="add del mod">
          <ac:chgData name="Thomas Stensitzki" userId="75cafe6b-2f2a-469b-85c4-eec3b9c972ba" providerId="ADAL" clId="{3D2749B5-D91D-4721-B325-106381EFF4FD}" dt="2020-08-01T14:00:10.709" v="5162" actId="478"/>
          <ac:cxnSpMkLst>
            <pc:docMk/>
            <pc:sldMk cId="1180189243" sldId="268"/>
            <ac:cxnSpMk id="50" creationId="{AF8E3931-F092-473A-8ACC-BEBF77A09686}"/>
          </ac:cxnSpMkLst>
        </pc:cxnChg>
        <pc:cxnChg chg="add del mod">
          <ac:chgData name="Thomas Stensitzki" userId="75cafe6b-2f2a-469b-85c4-eec3b9c972ba" providerId="ADAL" clId="{3D2749B5-D91D-4721-B325-106381EFF4FD}" dt="2020-08-01T14:00:10.709" v="5162" actId="478"/>
          <ac:cxnSpMkLst>
            <pc:docMk/>
            <pc:sldMk cId="1180189243" sldId="268"/>
            <ac:cxnSpMk id="52" creationId="{10EAA07C-0118-4A5C-9B1A-5EC93817F159}"/>
          </ac:cxnSpMkLst>
        </pc:cxnChg>
        <pc:cxnChg chg="add del mod">
          <ac:chgData name="Thomas Stensitzki" userId="75cafe6b-2f2a-469b-85c4-eec3b9c972ba" providerId="ADAL" clId="{3D2749B5-D91D-4721-B325-106381EFF4FD}" dt="2020-08-01T14:00:10.709" v="5162" actId="478"/>
          <ac:cxnSpMkLst>
            <pc:docMk/>
            <pc:sldMk cId="1180189243" sldId="268"/>
            <ac:cxnSpMk id="54" creationId="{9D6697C2-CF47-4365-AC8F-F0134679F2F5}"/>
          </ac:cxnSpMkLst>
        </pc:cxnChg>
        <pc:cxnChg chg="add del mod">
          <ac:chgData name="Thomas Stensitzki" userId="75cafe6b-2f2a-469b-85c4-eec3b9c972ba" providerId="ADAL" clId="{3D2749B5-D91D-4721-B325-106381EFF4FD}" dt="2020-08-01T14:00:10.709" v="5162" actId="478"/>
          <ac:cxnSpMkLst>
            <pc:docMk/>
            <pc:sldMk cId="1180189243" sldId="268"/>
            <ac:cxnSpMk id="56" creationId="{77BD16D6-063B-411B-AB90-0AAEFEDC1039}"/>
          </ac:cxnSpMkLst>
        </pc:cxnChg>
        <pc:cxnChg chg="add del mod">
          <ac:chgData name="Thomas Stensitzki" userId="75cafe6b-2f2a-469b-85c4-eec3b9c972ba" providerId="ADAL" clId="{3D2749B5-D91D-4721-B325-106381EFF4FD}" dt="2020-08-01T14:00:10.709" v="5162" actId="478"/>
          <ac:cxnSpMkLst>
            <pc:docMk/>
            <pc:sldMk cId="1180189243" sldId="268"/>
            <ac:cxnSpMk id="58" creationId="{68E35D85-4606-4154-9AC2-651225B0C22B}"/>
          </ac:cxnSpMkLst>
        </pc:cxnChg>
        <pc:cxnChg chg="add del mod">
          <ac:chgData name="Thomas Stensitzki" userId="75cafe6b-2f2a-469b-85c4-eec3b9c972ba" providerId="ADAL" clId="{3D2749B5-D91D-4721-B325-106381EFF4FD}" dt="2020-08-01T14:00:10.709" v="5162" actId="478"/>
          <ac:cxnSpMkLst>
            <pc:docMk/>
            <pc:sldMk cId="1180189243" sldId="268"/>
            <ac:cxnSpMk id="60" creationId="{F0C61AC3-6280-4AE2-B065-18C921459520}"/>
          </ac:cxnSpMkLst>
        </pc:cxnChg>
        <pc:cxnChg chg="add del mod">
          <ac:chgData name="Thomas Stensitzki" userId="75cafe6b-2f2a-469b-85c4-eec3b9c972ba" providerId="ADAL" clId="{3D2749B5-D91D-4721-B325-106381EFF4FD}" dt="2020-08-01T14:00:10.709" v="5162" actId="478"/>
          <ac:cxnSpMkLst>
            <pc:docMk/>
            <pc:sldMk cId="1180189243" sldId="268"/>
            <ac:cxnSpMk id="62" creationId="{CBA044C2-8B42-4265-BD75-5067651F8F74}"/>
          </ac:cxnSpMkLst>
        </pc:cxnChg>
        <pc:cxnChg chg="add del mod">
          <ac:chgData name="Thomas Stensitzki" userId="75cafe6b-2f2a-469b-85c4-eec3b9c972ba" providerId="ADAL" clId="{3D2749B5-D91D-4721-B325-106381EFF4FD}" dt="2020-08-01T14:00:10.709" v="5162" actId="478"/>
          <ac:cxnSpMkLst>
            <pc:docMk/>
            <pc:sldMk cId="1180189243" sldId="268"/>
            <ac:cxnSpMk id="64" creationId="{7888E129-40DD-4186-9EF9-C0C3A3B17DC4}"/>
          </ac:cxnSpMkLst>
        </pc:cxnChg>
        <pc:cxnChg chg="add del mod">
          <ac:chgData name="Thomas Stensitzki" userId="75cafe6b-2f2a-469b-85c4-eec3b9c972ba" providerId="ADAL" clId="{3D2749B5-D91D-4721-B325-106381EFF4FD}" dt="2020-08-01T14:00:10.709" v="5162" actId="478"/>
          <ac:cxnSpMkLst>
            <pc:docMk/>
            <pc:sldMk cId="1180189243" sldId="268"/>
            <ac:cxnSpMk id="66" creationId="{C0770777-BBAF-4A00-BEE2-8640F2177BFC}"/>
          </ac:cxnSpMkLst>
        </pc:cxnChg>
        <pc:cxnChg chg="add del mod">
          <ac:chgData name="Thomas Stensitzki" userId="75cafe6b-2f2a-469b-85c4-eec3b9c972ba" providerId="ADAL" clId="{3D2749B5-D91D-4721-B325-106381EFF4FD}" dt="2020-08-01T14:00:10.709" v="5162" actId="478"/>
          <ac:cxnSpMkLst>
            <pc:docMk/>
            <pc:sldMk cId="1180189243" sldId="268"/>
            <ac:cxnSpMk id="68" creationId="{349E2CA9-4C4F-4D1F-8DA1-2785EBA4C5D6}"/>
          </ac:cxnSpMkLst>
        </pc:cxnChg>
        <pc:cxnChg chg="add del mod">
          <ac:chgData name="Thomas Stensitzki" userId="75cafe6b-2f2a-469b-85c4-eec3b9c972ba" providerId="ADAL" clId="{3D2749B5-D91D-4721-B325-106381EFF4FD}" dt="2020-08-01T14:00:12.555" v="5163" actId="478"/>
          <ac:cxnSpMkLst>
            <pc:docMk/>
            <pc:sldMk cId="1180189243" sldId="268"/>
            <ac:cxnSpMk id="70" creationId="{2A575F37-2427-4317-A266-9811BA8CE18E}"/>
          </ac:cxnSpMkLst>
        </pc:cxnChg>
        <pc:cxnChg chg="add del mod">
          <ac:chgData name="Thomas Stensitzki" userId="75cafe6b-2f2a-469b-85c4-eec3b9c972ba" providerId="ADAL" clId="{3D2749B5-D91D-4721-B325-106381EFF4FD}" dt="2020-08-01T14:00:12.555" v="5163" actId="478"/>
          <ac:cxnSpMkLst>
            <pc:docMk/>
            <pc:sldMk cId="1180189243" sldId="268"/>
            <ac:cxnSpMk id="72" creationId="{5BF5D09C-7ABC-4A3D-AE66-C7482EFC34A3}"/>
          </ac:cxnSpMkLst>
        </pc:cxnChg>
        <pc:cxnChg chg="add del mod">
          <ac:chgData name="Thomas Stensitzki" userId="75cafe6b-2f2a-469b-85c4-eec3b9c972ba" providerId="ADAL" clId="{3D2749B5-D91D-4721-B325-106381EFF4FD}" dt="2020-08-01T14:00:12.555" v="5163" actId="478"/>
          <ac:cxnSpMkLst>
            <pc:docMk/>
            <pc:sldMk cId="1180189243" sldId="268"/>
            <ac:cxnSpMk id="74" creationId="{6F835FCC-B05A-448A-A203-4DB7AB499EBD}"/>
          </ac:cxnSpMkLst>
        </pc:cxnChg>
        <pc:cxnChg chg="add del mod">
          <ac:chgData name="Thomas Stensitzki" userId="75cafe6b-2f2a-469b-85c4-eec3b9c972ba" providerId="ADAL" clId="{3D2749B5-D91D-4721-B325-106381EFF4FD}" dt="2020-08-01T14:00:12.555" v="5163" actId="478"/>
          <ac:cxnSpMkLst>
            <pc:docMk/>
            <pc:sldMk cId="1180189243" sldId="268"/>
            <ac:cxnSpMk id="76" creationId="{2E6BD5FB-9592-43C2-916D-6899A86CD2B7}"/>
          </ac:cxnSpMkLst>
        </pc:cxnChg>
        <pc:cxnChg chg="add del mod">
          <ac:chgData name="Thomas Stensitzki" userId="75cafe6b-2f2a-469b-85c4-eec3b9c972ba" providerId="ADAL" clId="{3D2749B5-D91D-4721-B325-106381EFF4FD}" dt="2020-08-01T14:00:12.555" v="5163" actId="478"/>
          <ac:cxnSpMkLst>
            <pc:docMk/>
            <pc:sldMk cId="1180189243" sldId="268"/>
            <ac:cxnSpMk id="78" creationId="{374DEC8F-73CA-4B80-A1DC-0D4F12235096}"/>
          </ac:cxnSpMkLst>
        </pc:cxnChg>
        <pc:cxnChg chg="add del mod">
          <ac:chgData name="Thomas Stensitzki" userId="75cafe6b-2f2a-469b-85c4-eec3b9c972ba" providerId="ADAL" clId="{3D2749B5-D91D-4721-B325-106381EFF4FD}" dt="2020-08-01T14:00:12.555" v="5163" actId="478"/>
          <ac:cxnSpMkLst>
            <pc:docMk/>
            <pc:sldMk cId="1180189243" sldId="268"/>
            <ac:cxnSpMk id="80" creationId="{415BC262-C5D6-4E4A-B97E-DC70967B4986}"/>
          </ac:cxnSpMkLst>
        </pc:cxnChg>
        <pc:cxnChg chg="add del mod">
          <ac:chgData name="Thomas Stensitzki" userId="75cafe6b-2f2a-469b-85c4-eec3b9c972ba" providerId="ADAL" clId="{3D2749B5-D91D-4721-B325-106381EFF4FD}" dt="2020-08-01T14:00:14.850" v="5164" actId="478"/>
          <ac:cxnSpMkLst>
            <pc:docMk/>
            <pc:sldMk cId="1180189243" sldId="268"/>
            <ac:cxnSpMk id="82" creationId="{AF9D5D91-62F6-4374-B336-03F154458CA8}"/>
          </ac:cxnSpMkLst>
        </pc:cxnChg>
        <pc:cxnChg chg="add del mod">
          <ac:chgData name="Thomas Stensitzki" userId="75cafe6b-2f2a-469b-85c4-eec3b9c972ba" providerId="ADAL" clId="{3D2749B5-D91D-4721-B325-106381EFF4FD}" dt="2020-08-01T14:00:14.850" v="5164" actId="478"/>
          <ac:cxnSpMkLst>
            <pc:docMk/>
            <pc:sldMk cId="1180189243" sldId="268"/>
            <ac:cxnSpMk id="84" creationId="{061B6844-5A62-4579-A086-E83C836EFC01}"/>
          </ac:cxnSpMkLst>
        </pc:cxnChg>
        <pc:cxnChg chg="add del mod">
          <ac:chgData name="Thomas Stensitzki" userId="75cafe6b-2f2a-469b-85c4-eec3b9c972ba" providerId="ADAL" clId="{3D2749B5-D91D-4721-B325-106381EFF4FD}" dt="2020-08-01T14:00:19.070" v="5165" actId="478"/>
          <ac:cxnSpMkLst>
            <pc:docMk/>
            <pc:sldMk cId="1180189243" sldId="268"/>
            <ac:cxnSpMk id="86" creationId="{D497F20A-E324-42B4-9FEC-B6BD8363E5F0}"/>
          </ac:cxnSpMkLst>
        </pc:cxnChg>
        <pc:cxnChg chg="add del mod">
          <ac:chgData name="Thomas Stensitzki" userId="75cafe6b-2f2a-469b-85c4-eec3b9c972ba" providerId="ADAL" clId="{3D2749B5-D91D-4721-B325-106381EFF4FD}" dt="2020-08-01T14:00:19.070" v="5165" actId="478"/>
          <ac:cxnSpMkLst>
            <pc:docMk/>
            <pc:sldMk cId="1180189243" sldId="268"/>
            <ac:cxnSpMk id="88" creationId="{BAD4A626-9E69-402E-8804-B95990193585}"/>
          </ac:cxnSpMkLst>
        </pc:cxnChg>
        <pc:cxnChg chg="add del mod">
          <ac:chgData name="Thomas Stensitzki" userId="75cafe6b-2f2a-469b-85c4-eec3b9c972ba" providerId="ADAL" clId="{3D2749B5-D91D-4721-B325-106381EFF4FD}" dt="2020-08-01T14:00:19.070" v="5165" actId="478"/>
          <ac:cxnSpMkLst>
            <pc:docMk/>
            <pc:sldMk cId="1180189243" sldId="268"/>
            <ac:cxnSpMk id="90" creationId="{2F8A0D87-1D88-4BEE-A2F8-FB4A2CAB1D23}"/>
          </ac:cxnSpMkLst>
        </pc:cxnChg>
        <pc:cxnChg chg="add del mod">
          <ac:chgData name="Thomas Stensitzki" userId="75cafe6b-2f2a-469b-85c4-eec3b9c972ba" providerId="ADAL" clId="{3D2749B5-D91D-4721-B325-106381EFF4FD}" dt="2020-08-01T14:00:19.070" v="5165" actId="478"/>
          <ac:cxnSpMkLst>
            <pc:docMk/>
            <pc:sldMk cId="1180189243" sldId="268"/>
            <ac:cxnSpMk id="92" creationId="{782D272A-8542-4834-BA79-0794590E9F3E}"/>
          </ac:cxnSpMkLst>
        </pc:cxnChg>
        <pc:cxnChg chg="add del mod">
          <ac:chgData name="Thomas Stensitzki" userId="75cafe6b-2f2a-469b-85c4-eec3b9c972ba" providerId="ADAL" clId="{3D2749B5-D91D-4721-B325-106381EFF4FD}" dt="2020-08-01T14:00:19.070" v="5165" actId="478"/>
          <ac:cxnSpMkLst>
            <pc:docMk/>
            <pc:sldMk cId="1180189243" sldId="268"/>
            <ac:cxnSpMk id="94" creationId="{CC6377D4-DBCE-48BE-996D-5C95F116CF1C}"/>
          </ac:cxnSpMkLst>
        </pc:cxnChg>
        <pc:cxnChg chg="add del mod">
          <ac:chgData name="Thomas Stensitzki" userId="75cafe6b-2f2a-469b-85c4-eec3b9c972ba" providerId="ADAL" clId="{3D2749B5-D91D-4721-B325-106381EFF4FD}" dt="2020-08-01T14:00:19.070" v="5165" actId="478"/>
          <ac:cxnSpMkLst>
            <pc:docMk/>
            <pc:sldMk cId="1180189243" sldId="268"/>
            <ac:cxnSpMk id="96" creationId="{4CAD1A08-4866-4DFB-8E57-EC64408A1154}"/>
          </ac:cxnSpMkLst>
        </pc:cxnChg>
        <pc:cxnChg chg="add del mod">
          <ac:chgData name="Thomas Stensitzki" userId="75cafe6b-2f2a-469b-85c4-eec3b9c972ba" providerId="ADAL" clId="{3D2749B5-D91D-4721-B325-106381EFF4FD}" dt="2020-08-01T14:00:19.070" v="5165" actId="478"/>
          <ac:cxnSpMkLst>
            <pc:docMk/>
            <pc:sldMk cId="1180189243" sldId="268"/>
            <ac:cxnSpMk id="98" creationId="{645249A0-5DB6-426C-937F-0D19066BBB3B}"/>
          </ac:cxnSpMkLst>
        </pc:cxnChg>
        <pc:cxnChg chg="add del mod">
          <ac:chgData name="Thomas Stensitzki" userId="75cafe6b-2f2a-469b-85c4-eec3b9c972ba" providerId="ADAL" clId="{3D2749B5-D91D-4721-B325-106381EFF4FD}" dt="2020-08-01T14:00:19.070" v="5165" actId="478"/>
          <ac:cxnSpMkLst>
            <pc:docMk/>
            <pc:sldMk cId="1180189243" sldId="268"/>
            <ac:cxnSpMk id="100" creationId="{9EB83C16-CB79-49AB-B0E0-46CB60A97729}"/>
          </ac:cxnSpMkLst>
        </pc:cxnChg>
        <pc:cxnChg chg="add del mod">
          <ac:chgData name="Thomas Stensitzki" userId="75cafe6b-2f2a-469b-85c4-eec3b9c972ba" providerId="ADAL" clId="{3D2749B5-D91D-4721-B325-106381EFF4FD}" dt="2020-08-01T14:00:19.070" v="5165" actId="478"/>
          <ac:cxnSpMkLst>
            <pc:docMk/>
            <pc:sldMk cId="1180189243" sldId="268"/>
            <ac:cxnSpMk id="102" creationId="{39E21585-5D54-4284-A462-A8DBDB6D33C6}"/>
          </ac:cxnSpMkLst>
        </pc:cxnChg>
        <pc:cxnChg chg="add del mod">
          <ac:chgData name="Thomas Stensitzki" userId="75cafe6b-2f2a-469b-85c4-eec3b9c972ba" providerId="ADAL" clId="{3D2749B5-D91D-4721-B325-106381EFF4FD}" dt="2020-08-01T14:00:02.518" v="5161" actId="22"/>
          <ac:cxnSpMkLst>
            <pc:docMk/>
            <pc:sldMk cId="1180189243" sldId="268"/>
            <ac:cxnSpMk id="104" creationId="{DDA13431-E855-4F77-AEC1-38A7A0C655CB}"/>
          </ac:cxnSpMkLst>
        </pc:cxnChg>
        <pc:cxnChg chg="add del mod">
          <ac:chgData name="Thomas Stensitzki" userId="75cafe6b-2f2a-469b-85c4-eec3b9c972ba" providerId="ADAL" clId="{3D2749B5-D91D-4721-B325-106381EFF4FD}" dt="2020-08-01T14:00:02.344" v="5160" actId="22"/>
          <ac:cxnSpMkLst>
            <pc:docMk/>
            <pc:sldMk cId="1180189243" sldId="268"/>
            <ac:cxnSpMk id="106" creationId="{004FB29C-37DF-490F-AEBF-E0A3965E9BA1}"/>
          </ac:cxnSpMkLst>
        </pc:cxnChg>
        <pc:cxnChg chg="add del mod">
          <ac:chgData name="Thomas Stensitzki" userId="75cafe6b-2f2a-469b-85c4-eec3b9c972ba" providerId="ADAL" clId="{3D2749B5-D91D-4721-B325-106381EFF4FD}" dt="2020-08-01T14:00:02.190" v="5159" actId="22"/>
          <ac:cxnSpMkLst>
            <pc:docMk/>
            <pc:sldMk cId="1180189243" sldId="268"/>
            <ac:cxnSpMk id="108" creationId="{08B49E8E-63AB-4AD2-84D8-9DF1EB52FF90}"/>
          </ac:cxnSpMkLst>
        </pc:cxnChg>
        <pc:cxnChg chg="add del mod">
          <ac:chgData name="Thomas Stensitzki" userId="75cafe6b-2f2a-469b-85c4-eec3b9c972ba" providerId="ADAL" clId="{3D2749B5-D91D-4721-B325-106381EFF4FD}" dt="2020-08-01T14:00:02.047" v="5158" actId="22"/>
          <ac:cxnSpMkLst>
            <pc:docMk/>
            <pc:sldMk cId="1180189243" sldId="268"/>
            <ac:cxnSpMk id="110" creationId="{00DBCCBF-4421-445E-88C2-7AEACB3625DC}"/>
          </ac:cxnSpMkLst>
        </pc:cxnChg>
        <pc:cxnChg chg="add del mod">
          <ac:chgData name="Thomas Stensitzki" userId="75cafe6b-2f2a-469b-85c4-eec3b9c972ba" providerId="ADAL" clId="{3D2749B5-D91D-4721-B325-106381EFF4FD}" dt="2020-08-01T14:00:01.897" v="5157" actId="22"/>
          <ac:cxnSpMkLst>
            <pc:docMk/>
            <pc:sldMk cId="1180189243" sldId="268"/>
            <ac:cxnSpMk id="112" creationId="{47CDF4D8-0390-4C0C-AE0D-AF4B47E822A4}"/>
          </ac:cxnSpMkLst>
        </pc:cxnChg>
        <pc:cxnChg chg="add del mod">
          <ac:chgData name="Thomas Stensitzki" userId="75cafe6b-2f2a-469b-85c4-eec3b9c972ba" providerId="ADAL" clId="{3D2749B5-D91D-4721-B325-106381EFF4FD}" dt="2020-08-01T14:00:01.733" v="5156" actId="22"/>
          <ac:cxnSpMkLst>
            <pc:docMk/>
            <pc:sldMk cId="1180189243" sldId="268"/>
            <ac:cxnSpMk id="114" creationId="{7E51B8F9-6C74-459E-BBEE-4E9440918580}"/>
          </ac:cxnSpMkLst>
        </pc:cxnChg>
        <pc:cxnChg chg="add del mod">
          <ac:chgData name="Thomas Stensitzki" userId="75cafe6b-2f2a-469b-85c4-eec3b9c972ba" providerId="ADAL" clId="{3D2749B5-D91D-4721-B325-106381EFF4FD}" dt="2020-08-01T14:00:01.558" v="5155" actId="22"/>
          <ac:cxnSpMkLst>
            <pc:docMk/>
            <pc:sldMk cId="1180189243" sldId="268"/>
            <ac:cxnSpMk id="116" creationId="{ECE988FE-9F50-44CC-94C4-DF16B8AB2D51}"/>
          </ac:cxnSpMkLst>
        </pc:cxnChg>
        <pc:cxnChg chg="add del mod">
          <ac:chgData name="Thomas Stensitzki" userId="75cafe6b-2f2a-469b-85c4-eec3b9c972ba" providerId="ADAL" clId="{3D2749B5-D91D-4721-B325-106381EFF4FD}" dt="2020-08-01T14:00:01.396" v="5154" actId="22"/>
          <ac:cxnSpMkLst>
            <pc:docMk/>
            <pc:sldMk cId="1180189243" sldId="268"/>
            <ac:cxnSpMk id="118" creationId="{8A613B17-4E21-4F18-BE99-E6392E4BF30B}"/>
          </ac:cxnSpMkLst>
        </pc:cxnChg>
        <pc:cxnChg chg="add del mod">
          <ac:chgData name="Thomas Stensitzki" userId="75cafe6b-2f2a-469b-85c4-eec3b9c972ba" providerId="ADAL" clId="{3D2749B5-D91D-4721-B325-106381EFF4FD}" dt="2020-08-01T14:00:01.229" v="5153" actId="22"/>
          <ac:cxnSpMkLst>
            <pc:docMk/>
            <pc:sldMk cId="1180189243" sldId="268"/>
            <ac:cxnSpMk id="120" creationId="{09177186-4C73-4C51-936A-4546F668E842}"/>
          </ac:cxnSpMkLst>
        </pc:cxnChg>
        <pc:cxnChg chg="add del mod">
          <ac:chgData name="Thomas Stensitzki" userId="75cafe6b-2f2a-469b-85c4-eec3b9c972ba" providerId="ADAL" clId="{3D2749B5-D91D-4721-B325-106381EFF4FD}" dt="2020-08-01T14:00:01.084" v="5152" actId="22"/>
          <ac:cxnSpMkLst>
            <pc:docMk/>
            <pc:sldMk cId="1180189243" sldId="268"/>
            <ac:cxnSpMk id="122" creationId="{A5DDE52D-D0BC-46BF-B8AD-EFBECF719A9E}"/>
          </ac:cxnSpMkLst>
        </pc:cxnChg>
        <pc:cxnChg chg="add del mod">
          <ac:chgData name="Thomas Stensitzki" userId="75cafe6b-2f2a-469b-85c4-eec3b9c972ba" providerId="ADAL" clId="{3D2749B5-D91D-4721-B325-106381EFF4FD}" dt="2020-08-01T14:00:00.930" v="5151" actId="22"/>
          <ac:cxnSpMkLst>
            <pc:docMk/>
            <pc:sldMk cId="1180189243" sldId="268"/>
            <ac:cxnSpMk id="124" creationId="{BEF6AF9F-61A6-47DC-8474-4D0339BCA3A3}"/>
          </ac:cxnSpMkLst>
        </pc:cxnChg>
        <pc:cxnChg chg="add del mod">
          <ac:chgData name="Thomas Stensitzki" userId="75cafe6b-2f2a-469b-85c4-eec3b9c972ba" providerId="ADAL" clId="{3D2749B5-D91D-4721-B325-106381EFF4FD}" dt="2020-08-01T14:00:00.770" v="5150" actId="22"/>
          <ac:cxnSpMkLst>
            <pc:docMk/>
            <pc:sldMk cId="1180189243" sldId="268"/>
            <ac:cxnSpMk id="126" creationId="{C2AFF2B6-9E00-467E-B424-80B4FA4EFEE4}"/>
          </ac:cxnSpMkLst>
        </pc:cxnChg>
        <pc:cxnChg chg="add del mod">
          <ac:chgData name="Thomas Stensitzki" userId="75cafe6b-2f2a-469b-85c4-eec3b9c972ba" providerId="ADAL" clId="{3D2749B5-D91D-4721-B325-106381EFF4FD}" dt="2020-08-01T14:00:00.636" v="5149" actId="22"/>
          <ac:cxnSpMkLst>
            <pc:docMk/>
            <pc:sldMk cId="1180189243" sldId="268"/>
            <ac:cxnSpMk id="128" creationId="{09B516AF-772B-472F-9A7E-0A77AD732DDE}"/>
          </ac:cxnSpMkLst>
        </pc:cxnChg>
        <pc:cxnChg chg="add del mod">
          <ac:chgData name="Thomas Stensitzki" userId="75cafe6b-2f2a-469b-85c4-eec3b9c972ba" providerId="ADAL" clId="{3D2749B5-D91D-4721-B325-106381EFF4FD}" dt="2020-08-01T14:00:00.463" v="5148" actId="22"/>
          <ac:cxnSpMkLst>
            <pc:docMk/>
            <pc:sldMk cId="1180189243" sldId="268"/>
            <ac:cxnSpMk id="130" creationId="{2E3CEB97-2F65-44F7-8857-30AFB60D9788}"/>
          </ac:cxnSpMkLst>
        </pc:cxnChg>
        <pc:cxnChg chg="add del mod">
          <ac:chgData name="Thomas Stensitzki" userId="75cafe6b-2f2a-469b-85c4-eec3b9c972ba" providerId="ADAL" clId="{3D2749B5-D91D-4721-B325-106381EFF4FD}" dt="2020-08-01T14:00:00.321" v="5147" actId="22"/>
          <ac:cxnSpMkLst>
            <pc:docMk/>
            <pc:sldMk cId="1180189243" sldId="268"/>
            <ac:cxnSpMk id="132" creationId="{9D1A0C79-E4EA-4E9C-A460-D947F9C32ABD}"/>
          </ac:cxnSpMkLst>
        </pc:cxnChg>
        <pc:cxnChg chg="add del mod">
          <ac:chgData name="Thomas Stensitzki" userId="75cafe6b-2f2a-469b-85c4-eec3b9c972ba" providerId="ADAL" clId="{3D2749B5-D91D-4721-B325-106381EFF4FD}" dt="2020-08-01T14:00:00.127" v="5146" actId="22"/>
          <ac:cxnSpMkLst>
            <pc:docMk/>
            <pc:sldMk cId="1180189243" sldId="268"/>
            <ac:cxnSpMk id="134" creationId="{F8BEEE6A-0371-4DF6-807B-43106C533BEB}"/>
          </ac:cxnSpMkLst>
        </pc:cxnChg>
        <pc:cxnChg chg="add del mod">
          <ac:chgData name="Thomas Stensitzki" userId="75cafe6b-2f2a-469b-85c4-eec3b9c972ba" providerId="ADAL" clId="{3D2749B5-D91D-4721-B325-106381EFF4FD}" dt="2020-08-01T13:59:59.812" v="5145" actId="22"/>
          <ac:cxnSpMkLst>
            <pc:docMk/>
            <pc:sldMk cId="1180189243" sldId="268"/>
            <ac:cxnSpMk id="136" creationId="{CF3638D3-E055-4580-A599-603D7F16320C}"/>
          </ac:cxnSpMkLst>
        </pc:cxnChg>
        <pc:cxnChg chg="add del mod">
          <ac:chgData name="Thomas Stensitzki" userId="75cafe6b-2f2a-469b-85c4-eec3b9c972ba" providerId="ADAL" clId="{3D2749B5-D91D-4721-B325-106381EFF4FD}" dt="2020-08-01T13:59:59.645" v="5144" actId="22"/>
          <ac:cxnSpMkLst>
            <pc:docMk/>
            <pc:sldMk cId="1180189243" sldId="268"/>
            <ac:cxnSpMk id="138" creationId="{79E5B117-6CAC-4105-897D-64AD0720EFB1}"/>
          </ac:cxnSpMkLst>
        </pc:cxnChg>
        <pc:cxnChg chg="add del mod">
          <ac:chgData name="Thomas Stensitzki" userId="75cafe6b-2f2a-469b-85c4-eec3b9c972ba" providerId="ADAL" clId="{3D2749B5-D91D-4721-B325-106381EFF4FD}" dt="2020-08-01T13:59:59.451" v="5143" actId="22"/>
          <ac:cxnSpMkLst>
            <pc:docMk/>
            <pc:sldMk cId="1180189243" sldId="268"/>
            <ac:cxnSpMk id="140" creationId="{63A77C7B-9D9A-406C-AC9B-1AC7FBE79428}"/>
          </ac:cxnSpMkLst>
        </pc:cxnChg>
        <pc:cxnChg chg="add del mod">
          <ac:chgData name="Thomas Stensitzki" userId="75cafe6b-2f2a-469b-85c4-eec3b9c972ba" providerId="ADAL" clId="{3D2749B5-D91D-4721-B325-106381EFF4FD}" dt="2020-08-01T13:59:59.061" v="5142" actId="22"/>
          <ac:cxnSpMkLst>
            <pc:docMk/>
            <pc:sldMk cId="1180189243" sldId="268"/>
            <ac:cxnSpMk id="142" creationId="{A1640B2C-5A53-46E8-A595-D41BE5B2B7E0}"/>
          </ac:cxnSpMkLst>
        </pc:cxnChg>
        <pc:cxnChg chg="add mod">
          <ac:chgData name="Thomas Stensitzki" userId="75cafe6b-2f2a-469b-85c4-eec3b9c972ba" providerId="ADAL" clId="{3D2749B5-D91D-4721-B325-106381EFF4FD}" dt="2020-08-01T14:17:55.988" v="5723" actId="14100"/>
          <ac:cxnSpMkLst>
            <pc:docMk/>
            <pc:sldMk cId="1180189243" sldId="268"/>
            <ac:cxnSpMk id="144" creationId="{EC32FFC4-734C-4144-9F68-E415D9799FFB}"/>
          </ac:cxnSpMkLst>
        </pc:cxnChg>
        <pc:cxnChg chg="add mod">
          <ac:chgData name="Thomas Stensitzki" userId="75cafe6b-2f2a-469b-85c4-eec3b9c972ba" providerId="ADAL" clId="{3D2749B5-D91D-4721-B325-106381EFF4FD}" dt="2020-08-01T14:19:39.526" v="5836" actId="478"/>
          <ac:cxnSpMkLst>
            <pc:docMk/>
            <pc:sldMk cId="1180189243" sldId="268"/>
            <ac:cxnSpMk id="148" creationId="{8D2419F5-2307-420F-992C-4D175FC3C5E1}"/>
          </ac:cxnSpMkLst>
        </pc:cxnChg>
        <pc:cxnChg chg="add mod">
          <ac:chgData name="Thomas Stensitzki" userId="75cafe6b-2f2a-469b-85c4-eec3b9c972ba" providerId="ADAL" clId="{3D2749B5-D91D-4721-B325-106381EFF4FD}" dt="2020-08-01T14:14:33.687" v="5564" actId="14100"/>
          <ac:cxnSpMkLst>
            <pc:docMk/>
            <pc:sldMk cId="1180189243" sldId="268"/>
            <ac:cxnSpMk id="153" creationId="{3D65974A-EE4E-4B91-AF7B-3E190A67F6D0}"/>
          </ac:cxnSpMkLst>
        </pc:cxnChg>
        <pc:cxnChg chg="add mod">
          <ac:chgData name="Thomas Stensitzki" userId="75cafe6b-2f2a-469b-85c4-eec3b9c972ba" providerId="ADAL" clId="{3D2749B5-D91D-4721-B325-106381EFF4FD}" dt="2020-08-01T14:14:44.017" v="5566" actId="14100"/>
          <ac:cxnSpMkLst>
            <pc:docMk/>
            <pc:sldMk cId="1180189243" sldId="268"/>
            <ac:cxnSpMk id="157" creationId="{16280A6C-FE7A-41C8-9A66-690D4AA07695}"/>
          </ac:cxnSpMkLst>
        </pc:cxnChg>
        <pc:cxnChg chg="add del mod">
          <ac:chgData name="Thomas Stensitzki" userId="75cafe6b-2f2a-469b-85c4-eec3b9c972ba" providerId="ADAL" clId="{3D2749B5-D91D-4721-B325-106381EFF4FD}" dt="2020-08-01T14:02:32.293" v="5189" actId="478"/>
          <ac:cxnSpMkLst>
            <pc:docMk/>
            <pc:sldMk cId="1180189243" sldId="268"/>
            <ac:cxnSpMk id="159" creationId="{F3DD7235-4AC5-4AD0-89DD-31E8E69F99E7}"/>
          </ac:cxnSpMkLst>
        </pc:cxnChg>
        <pc:cxnChg chg="add mod">
          <ac:chgData name="Thomas Stensitzki" userId="75cafe6b-2f2a-469b-85c4-eec3b9c972ba" providerId="ADAL" clId="{3D2749B5-D91D-4721-B325-106381EFF4FD}" dt="2020-08-01T14:22:19.974" v="5970" actId="478"/>
          <ac:cxnSpMkLst>
            <pc:docMk/>
            <pc:sldMk cId="1180189243" sldId="268"/>
            <ac:cxnSpMk id="163" creationId="{151DD52E-A9A3-4A08-B41A-37DF06E84604}"/>
          </ac:cxnSpMkLst>
        </pc:cxnChg>
        <pc:cxnChg chg="add mod">
          <ac:chgData name="Thomas Stensitzki" userId="75cafe6b-2f2a-469b-85c4-eec3b9c972ba" providerId="ADAL" clId="{3D2749B5-D91D-4721-B325-106381EFF4FD}" dt="2020-08-01T14:22:19.974" v="5970" actId="478"/>
          <ac:cxnSpMkLst>
            <pc:docMk/>
            <pc:sldMk cId="1180189243" sldId="268"/>
            <ac:cxnSpMk id="166" creationId="{3F076F86-0138-4D6E-B08B-E9601A5D2DA3}"/>
          </ac:cxnSpMkLst>
        </pc:cxnChg>
        <pc:cxnChg chg="add mod">
          <ac:chgData name="Thomas Stensitzki" userId="75cafe6b-2f2a-469b-85c4-eec3b9c972ba" providerId="ADAL" clId="{3D2749B5-D91D-4721-B325-106381EFF4FD}" dt="2020-08-01T14:20:02.035" v="5840" actId="478"/>
          <ac:cxnSpMkLst>
            <pc:docMk/>
            <pc:sldMk cId="1180189243" sldId="268"/>
            <ac:cxnSpMk id="168" creationId="{6BF60461-435B-431E-804F-57E373EBCE1B}"/>
          </ac:cxnSpMkLst>
        </pc:cxnChg>
        <pc:cxnChg chg="add mod">
          <ac:chgData name="Thomas Stensitzki" userId="75cafe6b-2f2a-469b-85c4-eec3b9c972ba" providerId="ADAL" clId="{3D2749B5-D91D-4721-B325-106381EFF4FD}" dt="2020-08-01T14:20:02.035" v="5840" actId="478"/>
          <ac:cxnSpMkLst>
            <pc:docMk/>
            <pc:sldMk cId="1180189243" sldId="268"/>
            <ac:cxnSpMk id="170" creationId="{AAE0AC29-5308-40F8-894F-396862AD4539}"/>
          </ac:cxnSpMkLst>
        </pc:cxnChg>
        <pc:cxnChg chg="add mod">
          <ac:chgData name="Thomas Stensitzki" userId="75cafe6b-2f2a-469b-85c4-eec3b9c972ba" providerId="ADAL" clId="{3D2749B5-D91D-4721-B325-106381EFF4FD}" dt="2020-08-01T14:20:02.035" v="5840" actId="478"/>
          <ac:cxnSpMkLst>
            <pc:docMk/>
            <pc:sldMk cId="1180189243" sldId="268"/>
            <ac:cxnSpMk id="172" creationId="{4986F0F0-D4D7-42FE-90E5-7DA90E9DCA02}"/>
          </ac:cxnSpMkLst>
        </pc:cxnChg>
        <pc:cxnChg chg="add mod">
          <ac:chgData name="Thomas Stensitzki" userId="75cafe6b-2f2a-469b-85c4-eec3b9c972ba" providerId="ADAL" clId="{3D2749B5-D91D-4721-B325-106381EFF4FD}" dt="2020-08-01T14:22:19.974" v="5970" actId="478"/>
          <ac:cxnSpMkLst>
            <pc:docMk/>
            <pc:sldMk cId="1180189243" sldId="268"/>
            <ac:cxnSpMk id="174" creationId="{F287C86D-07B3-48D6-9F45-27B3E521928B}"/>
          </ac:cxnSpMkLst>
        </pc:cxnChg>
        <pc:cxnChg chg="add mod">
          <ac:chgData name="Thomas Stensitzki" userId="75cafe6b-2f2a-469b-85c4-eec3b9c972ba" providerId="ADAL" clId="{3D2749B5-D91D-4721-B325-106381EFF4FD}" dt="2020-08-01T14:22:19.974" v="5970" actId="478"/>
          <ac:cxnSpMkLst>
            <pc:docMk/>
            <pc:sldMk cId="1180189243" sldId="268"/>
            <ac:cxnSpMk id="176" creationId="{FA7C63C6-0AC9-4E4F-B9F0-4F90C8C7E251}"/>
          </ac:cxnSpMkLst>
        </pc:cxnChg>
        <pc:cxnChg chg="add del mod">
          <ac:chgData name="Thomas Stensitzki" userId="75cafe6b-2f2a-469b-85c4-eec3b9c972ba" providerId="ADAL" clId="{3D2749B5-D91D-4721-B325-106381EFF4FD}" dt="2020-08-01T14:04:16.930" v="5207" actId="478"/>
          <ac:cxnSpMkLst>
            <pc:docMk/>
            <pc:sldMk cId="1180189243" sldId="268"/>
            <ac:cxnSpMk id="178" creationId="{A40B31A7-51BE-4D4C-8EBB-A3F8B2DB1332}"/>
          </ac:cxnSpMkLst>
        </pc:cxnChg>
        <pc:cxnChg chg="add mod">
          <ac:chgData name="Thomas Stensitzki" userId="75cafe6b-2f2a-469b-85c4-eec3b9c972ba" providerId="ADAL" clId="{3D2749B5-D91D-4721-B325-106381EFF4FD}" dt="2020-08-01T14:17:49.348" v="5722" actId="14100"/>
          <ac:cxnSpMkLst>
            <pc:docMk/>
            <pc:sldMk cId="1180189243" sldId="268"/>
            <ac:cxnSpMk id="181" creationId="{3283A9EB-3701-47CD-A1B2-F0D1FE02814A}"/>
          </ac:cxnSpMkLst>
        </pc:cxnChg>
        <pc:cxnChg chg="add mod">
          <ac:chgData name="Thomas Stensitzki" userId="75cafe6b-2f2a-469b-85c4-eec3b9c972ba" providerId="ADAL" clId="{3D2749B5-D91D-4721-B325-106381EFF4FD}" dt="2020-08-01T14:22:19.974" v="5970" actId="478"/>
          <ac:cxnSpMkLst>
            <pc:docMk/>
            <pc:sldMk cId="1180189243" sldId="268"/>
            <ac:cxnSpMk id="184" creationId="{8A006118-70ED-4681-8217-12FF937305E8}"/>
          </ac:cxnSpMkLst>
        </pc:cxnChg>
      </pc:sldChg>
      <pc:sldChg chg="modSp add mod modTransition modAnim">
        <pc:chgData name="Thomas Stensitzki" userId="75cafe6b-2f2a-469b-85c4-eec3b9c972ba" providerId="ADAL" clId="{3D2749B5-D91D-4721-B325-106381EFF4FD}" dt="2020-08-04T08:12:09.013" v="6881" actId="20577"/>
        <pc:sldMkLst>
          <pc:docMk/>
          <pc:sldMk cId="317354845" sldId="269"/>
        </pc:sldMkLst>
        <pc:spChg chg="mod">
          <ac:chgData name="Thomas Stensitzki" userId="75cafe6b-2f2a-469b-85c4-eec3b9c972ba" providerId="ADAL" clId="{3D2749B5-D91D-4721-B325-106381EFF4FD}" dt="2020-08-01T11:37:04.589" v="1847" actId="6549"/>
          <ac:spMkLst>
            <pc:docMk/>
            <pc:sldMk cId="317354845" sldId="269"/>
            <ac:spMk id="2" creationId="{9C01191A-C028-4B34-8578-B4A5A049BD70}"/>
          </ac:spMkLst>
        </pc:spChg>
        <pc:spChg chg="mod">
          <ac:chgData name="Thomas Stensitzki" userId="75cafe6b-2f2a-469b-85c4-eec3b9c972ba" providerId="ADAL" clId="{3D2749B5-D91D-4721-B325-106381EFF4FD}" dt="2020-08-04T08:12:09.013" v="6881" actId="20577"/>
          <ac:spMkLst>
            <pc:docMk/>
            <pc:sldMk cId="317354845" sldId="269"/>
            <ac:spMk id="3" creationId="{9F2654DB-0DD0-4511-8179-3FCE4F01A7E8}"/>
          </ac:spMkLst>
        </pc:spChg>
      </pc:sldChg>
      <pc:sldChg chg="addSp delSp modSp new mod ord modTransition modClrScheme modAnim chgLayout">
        <pc:chgData name="Thomas Stensitzki" userId="75cafe6b-2f2a-469b-85c4-eec3b9c972ba" providerId="ADAL" clId="{3D2749B5-D91D-4721-B325-106381EFF4FD}" dt="2020-08-02T12:09:03.511" v="6736" actId="6549"/>
        <pc:sldMkLst>
          <pc:docMk/>
          <pc:sldMk cId="443505784" sldId="270"/>
        </pc:sldMkLst>
        <pc:spChg chg="mod ord">
          <ac:chgData name="Thomas Stensitzki" userId="75cafe6b-2f2a-469b-85c4-eec3b9c972ba" providerId="ADAL" clId="{3D2749B5-D91D-4721-B325-106381EFF4FD}" dt="2020-08-01T12:40:37.307" v="3058" actId="1076"/>
          <ac:spMkLst>
            <pc:docMk/>
            <pc:sldMk cId="443505784" sldId="270"/>
            <ac:spMk id="2" creationId="{8BD1E6B4-8590-45AC-8FDD-2ECEF66BE61C}"/>
          </ac:spMkLst>
        </pc:spChg>
        <pc:spChg chg="del mod ord">
          <ac:chgData name="Thomas Stensitzki" userId="75cafe6b-2f2a-469b-85c4-eec3b9c972ba" providerId="ADAL" clId="{3D2749B5-D91D-4721-B325-106381EFF4FD}" dt="2020-08-01T12:10:07.201" v="2661" actId="700"/>
          <ac:spMkLst>
            <pc:docMk/>
            <pc:sldMk cId="443505784" sldId="270"/>
            <ac:spMk id="3" creationId="{FC597640-8102-4660-A9D3-B9C64A6F75A0}"/>
          </ac:spMkLst>
        </pc:spChg>
        <pc:spChg chg="add mod ord">
          <ac:chgData name="Thomas Stensitzki" userId="75cafe6b-2f2a-469b-85c4-eec3b9c972ba" providerId="ADAL" clId="{3D2749B5-D91D-4721-B325-106381EFF4FD}" dt="2020-08-01T12:45:02.980" v="3506" actId="1035"/>
          <ac:spMkLst>
            <pc:docMk/>
            <pc:sldMk cId="443505784" sldId="270"/>
            <ac:spMk id="4" creationId="{D16F0E4C-0849-4C78-865F-5CC4A48BD855}"/>
          </ac:spMkLst>
        </pc:spChg>
        <pc:spChg chg="add del mod ord">
          <ac:chgData name="Thomas Stensitzki" userId="75cafe6b-2f2a-469b-85c4-eec3b9c972ba" providerId="ADAL" clId="{3D2749B5-D91D-4721-B325-106381EFF4FD}" dt="2020-08-01T12:10:14.769" v="2662" actId="478"/>
          <ac:spMkLst>
            <pc:docMk/>
            <pc:sldMk cId="443505784" sldId="270"/>
            <ac:spMk id="5" creationId="{DE911748-C8C2-4145-A3C5-E4A4B6A38766}"/>
          </ac:spMkLst>
        </pc:spChg>
        <pc:spChg chg="add mod ord">
          <ac:chgData name="Thomas Stensitzki" userId="75cafe6b-2f2a-469b-85c4-eec3b9c972ba" providerId="ADAL" clId="{3D2749B5-D91D-4721-B325-106381EFF4FD}" dt="2020-08-01T12:45:02.980" v="3506" actId="1035"/>
          <ac:spMkLst>
            <pc:docMk/>
            <pc:sldMk cId="443505784" sldId="270"/>
            <ac:spMk id="6" creationId="{8C507DE6-3047-4BCE-A00B-997B77C25635}"/>
          </ac:spMkLst>
        </pc:spChg>
        <pc:spChg chg="add del mod ord">
          <ac:chgData name="Thomas Stensitzki" userId="75cafe6b-2f2a-469b-85c4-eec3b9c972ba" providerId="ADAL" clId="{3D2749B5-D91D-4721-B325-106381EFF4FD}" dt="2020-08-01T12:10:17.034" v="2663" actId="478"/>
          <ac:spMkLst>
            <pc:docMk/>
            <pc:sldMk cId="443505784" sldId="270"/>
            <ac:spMk id="7" creationId="{97BC67B5-BF23-41F4-A445-41153CB8B472}"/>
          </ac:spMkLst>
        </pc:spChg>
        <pc:spChg chg="add mod ord">
          <ac:chgData name="Thomas Stensitzki" userId="75cafe6b-2f2a-469b-85c4-eec3b9c972ba" providerId="ADAL" clId="{3D2749B5-D91D-4721-B325-106381EFF4FD}" dt="2020-08-01T12:20:27.551" v="2795" actId="20577"/>
          <ac:spMkLst>
            <pc:docMk/>
            <pc:sldMk cId="443505784" sldId="270"/>
            <ac:spMk id="28" creationId="{1947CEC4-5FD4-4FD9-B844-839D0F30F40D}"/>
          </ac:spMkLst>
        </pc:spChg>
        <pc:spChg chg="add mod">
          <ac:chgData name="Thomas Stensitzki" userId="75cafe6b-2f2a-469b-85c4-eec3b9c972ba" providerId="ADAL" clId="{3D2749B5-D91D-4721-B325-106381EFF4FD}" dt="2020-08-01T12:20:29.908" v="2796" actId="20577"/>
          <ac:spMkLst>
            <pc:docMk/>
            <pc:sldMk cId="443505784" sldId="270"/>
            <ac:spMk id="30" creationId="{16194BF7-B5D7-41AC-85F7-3A66F89694FD}"/>
          </ac:spMkLst>
        </pc:spChg>
        <pc:spChg chg="add mod">
          <ac:chgData name="Thomas Stensitzki" userId="75cafe6b-2f2a-469b-85c4-eec3b9c972ba" providerId="ADAL" clId="{3D2749B5-D91D-4721-B325-106381EFF4FD}" dt="2020-08-01T12:20:20.973" v="2794" actId="20577"/>
          <ac:spMkLst>
            <pc:docMk/>
            <pc:sldMk cId="443505784" sldId="270"/>
            <ac:spMk id="32" creationId="{A8A82908-2958-4FB7-B965-A6E2A5B883F7}"/>
          </ac:spMkLst>
        </pc:spChg>
        <pc:spChg chg="add mod">
          <ac:chgData name="Thomas Stensitzki" userId="75cafe6b-2f2a-469b-85c4-eec3b9c972ba" providerId="ADAL" clId="{3D2749B5-D91D-4721-B325-106381EFF4FD}" dt="2020-08-01T12:20:39.323" v="2798" actId="1076"/>
          <ac:spMkLst>
            <pc:docMk/>
            <pc:sldMk cId="443505784" sldId="270"/>
            <ac:spMk id="34" creationId="{29DEF294-C0BD-4EDF-B6A3-E44BE7D6D72B}"/>
          </ac:spMkLst>
        </pc:spChg>
        <pc:spChg chg="add mod ord">
          <ac:chgData name="Thomas Stensitzki" userId="75cafe6b-2f2a-469b-85c4-eec3b9c972ba" providerId="ADAL" clId="{3D2749B5-D91D-4721-B325-106381EFF4FD}" dt="2020-08-02T12:09:03.511" v="6736" actId="6549"/>
          <ac:spMkLst>
            <pc:docMk/>
            <pc:sldMk cId="443505784" sldId="270"/>
            <ac:spMk id="38" creationId="{0C05B043-40CF-4E4E-8DA2-EFA1DEC9D705}"/>
          </ac:spMkLst>
        </pc:spChg>
        <pc:spChg chg="add mod">
          <ac:chgData name="Thomas Stensitzki" userId="75cafe6b-2f2a-469b-85c4-eec3b9c972ba" providerId="ADAL" clId="{3D2749B5-D91D-4721-B325-106381EFF4FD}" dt="2020-08-01T12:35:33.209" v="2919" actId="1076"/>
          <ac:spMkLst>
            <pc:docMk/>
            <pc:sldMk cId="443505784" sldId="270"/>
            <ac:spMk id="72" creationId="{B0D7A134-0BF5-4FE3-B83B-7F692CFC9BDB}"/>
          </ac:spMkLst>
        </pc:spChg>
        <pc:spChg chg="add mod">
          <ac:chgData name="Thomas Stensitzki" userId="75cafe6b-2f2a-469b-85c4-eec3b9c972ba" providerId="ADAL" clId="{3D2749B5-D91D-4721-B325-106381EFF4FD}" dt="2020-08-01T12:39:00.290" v="3042" actId="20577"/>
          <ac:spMkLst>
            <pc:docMk/>
            <pc:sldMk cId="443505784" sldId="270"/>
            <ac:spMk id="73" creationId="{3140F0C1-1F83-484B-A16C-20CB657C64A5}"/>
          </ac:spMkLst>
        </pc:spChg>
        <pc:grpChg chg="add mod">
          <ac:chgData name="Thomas Stensitzki" userId="75cafe6b-2f2a-469b-85c4-eec3b9c972ba" providerId="ADAL" clId="{3D2749B5-D91D-4721-B325-106381EFF4FD}" dt="2020-08-02T12:01:50.451" v="6694" actId="164"/>
          <ac:grpSpMkLst>
            <pc:docMk/>
            <pc:sldMk cId="443505784" sldId="270"/>
            <ac:grpSpMk id="3" creationId="{84C1DE8D-0A29-4F77-B0A3-C4709895FDAC}"/>
          </ac:grpSpMkLst>
        </pc:grpChg>
        <pc:grpChg chg="add mod">
          <ac:chgData name="Thomas Stensitzki" userId="75cafe6b-2f2a-469b-85c4-eec3b9c972ba" providerId="ADAL" clId="{3D2749B5-D91D-4721-B325-106381EFF4FD}" dt="2020-08-02T12:01:58.418" v="6695" actId="164"/>
          <ac:grpSpMkLst>
            <pc:docMk/>
            <pc:sldMk cId="443505784" sldId="270"/>
            <ac:grpSpMk id="5" creationId="{7E85D5EF-A353-4DC0-8517-0BBD07ABDF2A}"/>
          </ac:grpSpMkLst>
        </pc:grpChg>
        <pc:grpChg chg="add mod">
          <ac:chgData name="Thomas Stensitzki" userId="75cafe6b-2f2a-469b-85c4-eec3b9c972ba" providerId="ADAL" clId="{3D2749B5-D91D-4721-B325-106381EFF4FD}" dt="2020-08-02T12:02:50.779" v="6700" actId="164"/>
          <ac:grpSpMkLst>
            <pc:docMk/>
            <pc:sldMk cId="443505784" sldId="270"/>
            <ac:grpSpMk id="7" creationId="{A4DEDA2E-92D2-4679-9236-925719A96F7C}"/>
          </ac:grpSpMkLst>
        </pc:grpChg>
        <pc:grpChg chg="add mod">
          <ac:chgData name="Thomas Stensitzki" userId="75cafe6b-2f2a-469b-85c4-eec3b9c972ba" providerId="ADAL" clId="{3D2749B5-D91D-4721-B325-106381EFF4FD}" dt="2020-08-02T12:02:55.739" v="6701" actId="164"/>
          <ac:grpSpMkLst>
            <pc:docMk/>
            <pc:sldMk cId="443505784" sldId="270"/>
            <ac:grpSpMk id="12" creationId="{82472995-73A3-4624-A4A7-10B1F0FAD790}"/>
          </ac:grpSpMkLst>
        </pc:grpChg>
        <pc:picChg chg="add mod">
          <ac:chgData name="Thomas Stensitzki" userId="75cafe6b-2f2a-469b-85c4-eec3b9c972ba" providerId="ADAL" clId="{3D2749B5-D91D-4721-B325-106381EFF4FD}" dt="2020-08-01T12:20:10.704" v="2775" actId="1076"/>
          <ac:picMkLst>
            <pc:docMk/>
            <pc:sldMk cId="443505784" sldId="270"/>
            <ac:picMk id="8" creationId="{EF72124C-1D7D-4688-8352-D324FEA43919}"/>
          </ac:picMkLst>
        </pc:picChg>
        <pc:picChg chg="add mod">
          <ac:chgData name="Thomas Stensitzki" userId="75cafe6b-2f2a-469b-85c4-eec3b9c972ba" providerId="ADAL" clId="{3D2749B5-D91D-4721-B325-106381EFF4FD}" dt="2020-08-01T12:11:50.864" v="2713" actId="1076"/>
          <ac:picMkLst>
            <pc:docMk/>
            <pc:sldMk cId="443505784" sldId="270"/>
            <ac:picMk id="9" creationId="{B03196B4-A8C4-4382-A093-3B68E5748810}"/>
          </ac:picMkLst>
        </pc:picChg>
        <pc:picChg chg="add mod">
          <ac:chgData name="Thomas Stensitzki" userId="75cafe6b-2f2a-469b-85c4-eec3b9c972ba" providerId="ADAL" clId="{3D2749B5-D91D-4721-B325-106381EFF4FD}" dt="2020-08-01T12:20:47.826" v="2799" actId="1076"/>
          <ac:picMkLst>
            <pc:docMk/>
            <pc:sldMk cId="443505784" sldId="270"/>
            <ac:picMk id="10" creationId="{4B4EC928-7133-446B-8231-D34825A326C8}"/>
          </ac:picMkLst>
        </pc:picChg>
        <pc:picChg chg="add mod">
          <ac:chgData name="Thomas Stensitzki" userId="75cafe6b-2f2a-469b-85c4-eec3b9c972ba" providerId="ADAL" clId="{3D2749B5-D91D-4721-B325-106381EFF4FD}" dt="2020-08-01T12:11:55.767" v="2715" actId="1076"/>
          <ac:picMkLst>
            <pc:docMk/>
            <pc:sldMk cId="443505784" sldId="270"/>
            <ac:picMk id="11" creationId="{097B4E35-BD45-4448-BDAC-72A4F653B618}"/>
          </ac:picMkLst>
        </pc:picChg>
        <pc:picChg chg="add mod ord">
          <ac:chgData name="Thomas Stensitzki" userId="75cafe6b-2f2a-469b-85c4-eec3b9c972ba" providerId="ADAL" clId="{3D2749B5-D91D-4721-B325-106381EFF4FD}" dt="2020-08-02T12:01:50.451" v="6694" actId="164"/>
          <ac:picMkLst>
            <pc:docMk/>
            <pc:sldMk cId="443505784" sldId="270"/>
            <ac:picMk id="13" creationId="{C7D048DD-725F-4233-AFA6-C0DCC0DFCDF0}"/>
          </ac:picMkLst>
        </pc:picChg>
        <pc:picChg chg="add mod">
          <ac:chgData name="Thomas Stensitzki" userId="75cafe6b-2f2a-469b-85c4-eec3b9c972ba" providerId="ADAL" clId="{3D2749B5-D91D-4721-B325-106381EFF4FD}" dt="2020-08-02T12:01:50.451" v="6694" actId="164"/>
          <ac:picMkLst>
            <pc:docMk/>
            <pc:sldMk cId="443505784" sldId="270"/>
            <ac:picMk id="15" creationId="{895EB68C-54EF-46F5-85CF-1B22F05E487A}"/>
          </ac:picMkLst>
        </pc:picChg>
        <pc:picChg chg="add mod">
          <ac:chgData name="Thomas Stensitzki" userId="75cafe6b-2f2a-469b-85c4-eec3b9c972ba" providerId="ADAL" clId="{3D2749B5-D91D-4721-B325-106381EFF4FD}" dt="2020-08-02T12:01:58.418" v="6695" actId="164"/>
          <ac:picMkLst>
            <pc:docMk/>
            <pc:sldMk cId="443505784" sldId="270"/>
            <ac:picMk id="17" creationId="{50BB7577-E110-4FC1-9BA8-E3E315DC7518}"/>
          </ac:picMkLst>
        </pc:picChg>
        <pc:picChg chg="add mod">
          <ac:chgData name="Thomas Stensitzki" userId="75cafe6b-2f2a-469b-85c4-eec3b9c972ba" providerId="ADAL" clId="{3D2749B5-D91D-4721-B325-106381EFF4FD}" dt="2020-08-02T12:01:58.418" v="6695" actId="164"/>
          <ac:picMkLst>
            <pc:docMk/>
            <pc:sldMk cId="443505784" sldId="270"/>
            <ac:picMk id="19" creationId="{120EFE2A-737E-44CA-8DDF-D8C90C8BB394}"/>
          </ac:picMkLst>
        </pc:picChg>
        <pc:picChg chg="add mod">
          <ac:chgData name="Thomas Stensitzki" userId="75cafe6b-2f2a-469b-85c4-eec3b9c972ba" providerId="ADAL" clId="{3D2749B5-D91D-4721-B325-106381EFF4FD}" dt="2020-08-02T12:02:55.739" v="6701" actId="164"/>
          <ac:picMkLst>
            <pc:docMk/>
            <pc:sldMk cId="443505784" sldId="270"/>
            <ac:picMk id="21" creationId="{F04876B2-D8C0-4509-85A1-46906B780AB8}"/>
          </ac:picMkLst>
        </pc:picChg>
        <pc:picChg chg="add mod">
          <ac:chgData name="Thomas Stensitzki" userId="75cafe6b-2f2a-469b-85c4-eec3b9c972ba" providerId="ADAL" clId="{3D2749B5-D91D-4721-B325-106381EFF4FD}" dt="2020-08-02T12:02:55.739" v="6701" actId="164"/>
          <ac:picMkLst>
            <pc:docMk/>
            <pc:sldMk cId="443505784" sldId="270"/>
            <ac:picMk id="23" creationId="{976D5101-D0B7-42F5-8ADE-4134122CE9C4}"/>
          </ac:picMkLst>
        </pc:picChg>
        <pc:picChg chg="add mod">
          <ac:chgData name="Thomas Stensitzki" userId="75cafe6b-2f2a-469b-85c4-eec3b9c972ba" providerId="ADAL" clId="{3D2749B5-D91D-4721-B325-106381EFF4FD}" dt="2020-08-02T12:02:50.779" v="6700" actId="164"/>
          <ac:picMkLst>
            <pc:docMk/>
            <pc:sldMk cId="443505784" sldId="270"/>
            <ac:picMk id="25" creationId="{32D6A2AB-5744-42CD-B435-7A1D8729082B}"/>
          </ac:picMkLst>
        </pc:picChg>
        <pc:picChg chg="add mod">
          <ac:chgData name="Thomas Stensitzki" userId="75cafe6b-2f2a-469b-85c4-eec3b9c972ba" providerId="ADAL" clId="{3D2749B5-D91D-4721-B325-106381EFF4FD}" dt="2020-08-02T12:02:50.779" v="6700" actId="164"/>
          <ac:picMkLst>
            <pc:docMk/>
            <pc:sldMk cId="443505784" sldId="270"/>
            <ac:picMk id="27" creationId="{B5237777-C5C5-4B08-B2B6-ECF65BAAA1F3}"/>
          </ac:picMkLst>
        </pc:picChg>
        <pc:picChg chg="add del">
          <ac:chgData name="Thomas Stensitzki" userId="75cafe6b-2f2a-469b-85c4-eec3b9c972ba" providerId="ADAL" clId="{3D2749B5-D91D-4721-B325-106381EFF4FD}" dt="2020-08-01T12:21:19.991" v="2801"/>
          <ac:picMkLst>
            <pc:docMk/>
            <pc:sldMk cId="443505784" sldId="270"/>
            <ac:picMk id="35" creationId="{E4D2AF58-664C-4213-B3B9-5DC4566DC1C7}"/>
          </ac:picMkLst>
        </pc:picChg>
        <pc:picChg chg="add mod">
          <ac:chgData name="Thomas Stensitzki" userId="75cafe6b-2f2a-469b-85c4-eec3b9c972ba" providerId="ADAL" clId="{3D2749B5-D91D-4721-B325-106381EFF4FD}" dt="2020-08-01T12:21:36.768" v="2803" actId="1076"/>
          <ac:picMkLst>
            <pc:docMk/>
            <pc:sldMk cId="443505784" sldId="270"/>
            <ac:picMk id="37" creationId="{3BACFBD9-312B-4B19-B31D-CB5500741612}"/>
          </ac:picMkLst>
        </pc:picChg>
        <pc:picChg chg="add mod">
          <ac:chgData name="Thomas Stensitzki" userId="75cafe6b-2f2a-469b-85c4-eec3b9c972ba" providerId="ADAL" clId="{3D2749B5-D91D-4721-B325-106381EFF4FD}" dt="2020-08-01T12:31:16.508" v="2897" actId="1076"/>
          <ac:picMkLst>
            <pc:docMk/>
            <pc:sldMk cId="443505784" sldId="270"/>
            <ac:picMk id="55" creationId="{9863032D-5C8D-4CF7-A0CC-5F44CCD67447}"/>
          </ac:picMkLst>
        </pc:picChg>
        <pc:picChg chg="add mod">
          <ac:chgData name="Thomas Stensitzki" userId="75cafe6b-2f2a-469b-85c4-eec3b9c972ba" providerId="ADAL" clId="{3D2749B5-D91D-4721-B325-106381EFF4FD}" dt="2020-08-01T12:31:12.008" v="2896" actId="1076"/>
          <ac:picMkLst>
            <pc:docMk/>
            <pc:sldMk cId="443505784" sldId="270"/>
            <ac:picMk id="57" creationId="{56DBB546-D582-423B-A068-B5D3EE703721}"/>
          </ac:picMkLst>
        </pc:picChg>
        <pc:picChg chg="add mod">
          <ac:chgData name="Thomas Stensitzki" userId="75cafe6b-2f2a-469b-85c4-eec3b9c972ba" providerId="ADAL" clId="{3D2749B5-D91D-4721-B325-106381EFF4FD}" dt="2020-08-01T12:31:30.464" v="2899" actId="1076"/>
          <ac:picMkLst>
            <pc:docMk/>
            <pc:sldMk cId="443505784" sldId="270"/>
            <ac:picMk id="59" creationId="{8DF3A6AC-A98E-496A-B161-0496774CF378}"/>
          </ac:picMkLst>
        </pc:picChg>
        <pc:picChg chg="add del">
          <ac:chgData name="Thomas Stensitzki" userId="75cafe6b-2f2a-469b-85c4-eec3b9c972ba" providerId="ADAL" clId="{3D2749B5-D91D-4721-B325-106381EFF4FD}" dt="2020-08-01T12:32:23.597" v="2904" actId="478"/>
          <ac:picMkLst>
            <pc:docMk/>
            <pc:sldMk cId="443505784" sldId="270"/>
            <ac:picMk id="61" creationId="{0862EC15-603D-4DF7-9FA0-6747FED57E3A}"/>
          </ac:picMkLst>
        </pc:picChg>
        <pc:picChg chg="add del mod">
          <ac:chgData name="Thomas Stensitzki" userId="75cafe6b-2f2a-469b-85c4-eec3b9c972ba" providerId="ADAL" clId="{3D2749B5-D91D-4721-B325-106381EFF4FD}" dt="2020-08-01T12:32:22.502" v="2903" actId="478"/>
          <ac:picMkLst>
            <pc:docMk/>
            <pc:sldMk cId="443505784" sldId="270"/>
            <ac:picMk id="63" creationId="{B770DBF6-9F69-4610-9A7A-72AD7DA6D144}"/>
          </ac:picMkLst>
        </pc:picChg>
        <pc:picChg chg="add del mod">
          <ac:chgData name="Thomas Stensitzki" userId="75cafe6b-2f2a-469b-85c4-eec3b9c972ba" providerId="ADAL" clId="{3D2749B5-D91D-4721-B325-106381EFF4FD}" dt="2020-08-01T12:32:59.979" v="2909" actId="478"/>
          <ac:picMkLst>
            <pc:docMk/>
            <pc:sldMk cId="443505784" sldId="270"/>
            <ac:picMk id="65" creationId="{F2A4F6D8-C085-4658-865A-741846E2749C}"/>
          </ac:picMkLst>
        </pc:picChg>
        <pc:picChg chg="add mod">
          <ac:chgData name="Thomas Stensitzki" userId="75cafe6b-2f2a-469b-85c4-eec3b9c972ba" providerId="ADAL" clId="{3D2749B5-D91D-4721-B325-106381EFF4FD}" dt="2020-08-01T12:34:17.396" v="2912" actId="1076"/>
          <ac:picMkLst>
            <pc:docMk/>
            <pc:sldMk cId="443505784" sldId="270"/>
            <ac:picMk id="67" creationId="{D922F6E2-5341-4DAA-A307-423B86279CA7}"/>
          </ac:picMkLst>
        </pc:picChg>
        <pc:picChg chg="add mod">
          <ac:chgData name="Thomas Stensitzki" userId="75cafe6b-2f2a-469b-85c4-eec3b9c972ba" providerId="ADAL" clId="{3D2749B5-D91D-4721-B325-106381EFF4FD}" dt="2020-08-01T12:34:29.534" v="2914" actId="1076"/>
          <ac:picMkLst>
            <pc:docMk/>
            <pc:sldMk cId="443505784" sldId="270"/>
            <ac:picMk id="69" creationId="{1345E03E-5AF6-4BD8-B470-29C831466D3E}"/>
          </ac:picMkLst>
        </pc:picChg>
        <pc:picChg chg="add mod">
          <ac:chgData name="Thomas Stensitzki" userId="75cafe6b-2f2a-469b-85c4-eec3b9c972ba" providerId="ADAL" clId="{3D2749B5-D91D-4721-B325-106381EFF4FD}" dt="2020-08-01T12:34:46.954" v="2917" actId="1037"/>
          <ac:picMkLst>
            <pc:docMk/>
            <pc:sldMk cId="443505784" sldId="270"/>
            <ac:picMk id="71" creationId="{03AB9BB1-F0DF-40E3-B3BA-6F3005C064C5}"/>
          </ac:picMkLst>
        </pc:picChg>
        <pc:cxnChg chg="add del mod">
          <ac:chgData name="Thomas Stensitzki" userId="75cafe6b-2f2a-469b-85c4-eec3b9c972ba" providerId="ADAL" clId="{3D2749B5-D91D-4721-B325-106381EFF4FD}" dt="2020-08-01T12:28:44.130" v="2848" actId="478"/>
          <ac:cxnSpMkLst>
            <pc:docMk/>
            <pc:sldMk cId="443505784" sldId="270"/>
            <ac:cxnSpMk id="40" creationId="{82B3984F-E90B-4910-83FC-2885DD6DCB1A}"/>
          </ac:cxnSpMkLst>
        </pc:cxnChg>
        <pc:cxnChg chg="add del mod">
          <ac:chgData name="Thomas Stensitzki" userId="75cafe6b-2f2a-469b-85c4-eec3b9c972ba" providerId="ADAL" clId="{3D2749B5-D91D-4721-B325-106381EFF4FD}" dt="2020-08-01T12:28:43.625" v="2847" actId="478"/>
          <ac:cxnSpMkLst>
            <pc:docMk/>
            <pc:sldMk cId="443505784" sldId="270"/>
            <ac:cxnSpMk id="43" creationId="{D622D67F-CA1D-4A4A-8E3D-2F3BC5BE1145}"/>
          </ac:cxnSpMkLst>
        </pc:cxnChg>
        <pc:cxnChg chg="add del mod">
          <ac:chgData name="Thomas Stensitzki" userId="75cafe6b-2f2a-469b-85c4-eec3b9c972ba" providerId="ADAL" clId="{3D2749B5-D91D-4721-B325-106381EFF4FD}" dt="2020-08-01T12:28:41.917" v="2846" actId="478"/>
          <ac:cxnSpMkLst>
            <pc:docMk/>
            <pc:sldMk cId="443505784" sldId="270"/>
            <ac:cxnSpMk id="51" creationId="{BA2AB4E1-7EC0-47A7-8F66-02B5F3E8FDA3}"/>
          </ac:cxnSpMkLst>
        </pc:cxnChg>
        <pc:cxnChg chg="add del mod">
          <ac:chgData name="Thomas Stensitzki" userId="75cafe6b-2f2a-469b-85c4-eec3b9c972ba" providerId="ADAL" clId="{3D2749B5-D91D-4721-B325-106381EFF4FD}" dt="2020-08-01T12:29:20.743" v="2851" actId="478"/>
          <ac:cxnSpMkLst>
            <pc:docMk/>
            <pc:sldMk cId="443505784" sldId="270"/>
            <ac:cxnSpMk id="53" creationId="{C0D2305A-86F1-4A90-AE29-764CE6B96C15}"/>
          </ac:cxnSpMkLst>
        </pc:cxnChg>
      </pc:sldChg>
      <pc:sldChg chg="modSp add mod modTransition modAnim">
        <pc:chgData name="Thomas Stensitzki" userId="75cafe6b-2f2a-469b-85c4-eec3b9c972ba" providerId="ADAL" clId="{3D2749B5-D91D-4721-B325-106381EFF4FD}" dt="2020-08-02T12:01:34.596" v="6693"/>
        <pc:sldMkLst>
          <pc:docMk/>
          <pc:sldMk cId="3955647273" sldId="271"/>
        </pc:sldMkLst>
        <pc:spChg chg="mod">
          <ac:chgData name="Thomas Stensitzki" userId="75cafe6b-2f2a-469b-85c4-eec3b9c972ba" providerId="ADAL" clId="{3D2749B5-D91D-4721-B325-106381EFF4FD}" dt="2020-08-02T11:42:28.888" v="6119" actId="27636"/>
          <ac:spMkLst>
            <pc:docMk/>
            <pc:sldMk cId="3955647273" sldId="271"/>
            <ac:spMk id="3" creationId="{9F2654DB-0DD0-4511-8179-3FCE4F01A7E8}"/>
          </ac:spMkLst>
        </pc:spChg>
      </pc:sldChg>
      <pc:sldChg chg="addSp">
        <pc:chgData name="Thomas Stensitzki" userId="75cafe6b-2f2a-469b-85c4-eec3b9c972ba" providerId="ADAL" clId="{3D2749B5-D91D-4721-B325-106381EFF4FD}" dt="2020-08-01T12:02:11.249" v="2297"/>
        <pc:sldMkLst>
          <pc:docMk/>
          <pc:sldMk cId="1987731242" sldId="272"/>
        </pc:sldMkLst>
        <pc:picChg chg="add">
          <ac:chgData name="Thomas Stensitzki" userId="75cafe6b-2f2a-469b-85c4-eec3b9c972ba" providerId="ADAL" clId="{3D2749B5-D91D-4721-B325-106381EFF4FD}" dt="2020-08-01T12:02:11.249" v="2297"/>
          <ac:picMkLst>
            <pc:docMk/>
            <pc:sldMk cId="1987731242" sldId="272"/>
            <ac:picMk id="4098" creationId="{FD425F5F-33F7-4C12-932A-58D3D2FE226C}"/>
          </ac:picMkLst>
        </pc:picChg>
      </pc:sldChg>
      <pc:sldChg chg="addSp delSp modSp new add del mod modTransition modAnim">
        <pc:chgData name="Thomas Stensitzki" userId="75cafe6b-2f2a-469b-85c4-eec3b9c972ba" providerId="ADAL" clId="{3D2749B5-D91D-4721-B325-106381EFF4FD}" dt="2020-08-02T11:48:56.169" v="6619"/>
        <pc:sldMkLst>
          <pc:docMk/>
          <pc:sldMk cId="2563721883" sldId="272"/>
        </pc:sldMkLst>
        <pc:spChg chg="mod">
          <ac:chgData name="Thomas Stensitzki" userId="75cafe6b-2f2a-469b-85c4-eec3b9c972ba" providerId="ADAL" clId="{3D2749B5-D91D-4721-B325-106381EFF4FD}" dt="2020-08-01T12:01:11.127" v="2291" actId="20577"/>
          <ac:spMkLst>
            <pc:docMk/>
            <pc:sldMk cId="2563721883" sldId="272"/>
            <ac:spMk id="2" creationId="{E881904D-A953-49F4-B753-C20942AF0FC3}"/>
          </ac:spMkLst>
        </pc:spChg>
        <pc:spChg chg="del">
          <ac:chgData name="Thomas Stensitzki" userId="75cafe6b-2f2a-469b-85c4-eec3b9c972ba" providerId="ADAL" clId="{3D2749B5-D91D-4721-B325-106381EFF4FD}" dt="2020-08-01T12:01:14.661" v="2292" actId="478"/>
          <ac:spMkLst>
            <pc:docMk/>
            <pc:sldMk cId="2563721883" sldId="272"/>
            <ac:spMk id="3" creationId="{3E62DFA5-5F94-4059-B33B-A87946E76CE1}"/>
          </ac:spMkLst>
        </pc:spChg>
        <pc:spChg chg="add mod">
          <ac:chgData name="Thomas Stensitzki" userId="75cafe6b-2f2a-469b-85c4-eec3b9c972ba" providerId="ADAL" clId="{3D2749B5-D91D-4721-B325-106381EFF4FD}" dt="2020-08-01T12:03:05.604" v="2355" actId="6549"/>
          <ac:spMkLst>
            <pc:docMk/>
            <pc:sldMk cId="2563721883" sldId="272"/>
            <ac:spMk id="4" creationId="{9A73F885-9660-492C-BFB1-EB52B50EEF3B}"/>
          </ac:spMkLst>
        </pc:spChg>
        <pc:picChg chg="add del mod">
          <ac:chgData name="Thomas Stensitzki" userId="75cafe6b-2f2a-469b-85c4-eec3b9c972ba" providerId="ADAL" clId="{3D2749B5-D91D-4721-B325-106381EFF4FD}" dt="2020-08-01T12:02:10.858" v="2296" actId="478"/>
          <ac:picMkLst>
            <pc:docMk/>
            <pc:sldMk cId="2563721883" sldId="272"/>
            <ac:picMk id="5" creationId="{C8EAA835-58A2-46CF-855B-B34F8B52EAD3}"/>
          </ac:picMkLst>
        </pc:picChg>
        <pc:picChg chg="mod">
          <ac:chgData name="Thomas Stensitzki" userId="75cafe6b-2f2a-469b-85c4-eec3b9c972ba" providerId="ADAL" clId="{3D2749B5-D91D-4721-B325-106381EFF4FD}" dt="2020-08-01T12:02:16.158" v="2299" actId="1076"/>
          <ac:picMkLst>
            <pc:docMk/>
            <pc:sldMk cId="2563721883" sldId="272"/>
            <ac:picMk id="4098" creationId="{FD425F5F-33F7-4C12-932A-58D3D2FE226C}"/>
          </ac:picMkLst>
        </pc:picChg>
      </pc:sldChg>
      <pc:sldChg chg="addSp delSp modSp new mod ord modTransition modClrScheme modAnim chgLayout">
        <pc:chgData name="Thomas Stensitzki" userId="75cafe6b-2f2a-469b-85c4-eec3b9c972ba" providerId="ADAL" clId="{3D2749B5-D91D-4721-B325-106381EFF4FD}" dt="2020-08-02T12:11:22.282" v="6748" actId="6549"/>
        <pc:sldMkLst>
          <pc:docMk/>
          <pc:sldMk cId="2026484306" sldId="273"/>
        </pc:sldMkLst>
        <pc:spChg chg="add del mod ord">
          <ac:chgData name="Thomas Stensitzki" userId="75cafe6b-2f2a-469b-85c4-eec3b9c972ba" providerId="ADAL" clId="{3D2749B5-D91D-4721-B325-106381EFF4FD}" dt="2020-08-01T12:40:45.032" v="3059" actId="108"/>
          <ac:spMkLst>
            <pc:docMk/>
            <pc:sldMk cId="2026484306" sldId="273"/>
            <ac:spMk id="2" creationId="{3A460D1B-B1D6-4285-B99E-52D932AF4E46}"/>
          </ac:spMkLst>
        </pc:spChg>
        <pc:spChg chg="add del mod">
          <ac:chgData name="Thomas Stensitzki" userId="75cafe6b-2f2a-469b-85c4-eec3b9c972ba" providerId="ADAL" clId="{3D2749B5-D91D-4721-B325-106381EFF4FD}" dt="2020-08-01T12:44:45.292" v="3482" actId="478"/>
          <ac:spMkLst>
            <pc:docMk/>
            <pc:sldMk cId="2026484306" sldId="273"/>
            <ac:spMk id="3" creationId="{A237F040-E6CF-466C-9024-CB37BE9670AC}"/>
          </ac:spMkLst>
        </pc:spChg>
        <pc:spChg chg="add del mod ord">
          <ac:chgData name="Thomas Stensitzki" userId="75cafe6b-2f2a-469b-85c4-eec3b9c972ba" providerId="ADAL" clId="{3D2749B5-D91D-4721-B325-106381EFF4FD}" dt="2020-08-02T12:10:15.729" v="6747" actId="20577"/>
          <ac:spMkLst>
            <pc:docMk/>
            <pc:sldMk cId="2026484306" sldId="273"/>
            <ac:spMk id="4" creationId="{1D3E7163-DA4D-4503-BABB-AA4510F66D42}"/>
          </ac:spMkLst>
        </pc:spChg>
        <pc:spChg chg="add del mod">
          <ac:chgData name="Thomas Stensitzki" userId="75cafe6b-2f2a-469b-85c4-eec3b9c972ba" providerId="ADAL" clId="{3D2749B5-D91D-4721-B325-106381EFF4FD}" dt="2020-08-01T12:44:45.292" v="3482" actId="478"/>
          <ac:spMkLst>
            <pc:docMk/>
            <pc:sldMk cId="2026484306" sldId="273"/>
            <ac:spMk id="5" creationId="{28D35DB8-9DD0-4EB7-B8A5-A42CD4D05FD0}"/>
          </ac:spMkLst>
        </pc:spChg>
        <pc:spChg chg="add del mod">
          <ac:chgData name="Thomas Stensitzki" userId="75cafe6b-2f2a-469b-85c4-eec3b9c972ba" providerId="ADAL" clId="{3D2749B5-D91D-4721-B325-106381EFF4FD}" dt="2020-08-02T12:11:22.282" v="6748" actId="6549"/>
          <ac:spMkLst>
            <pc:docMk/>
            <pc:sldMk cId="2026484306" sldId="273"/>
            <ac:spMk id="6" creationId="{A6135F66-96A4-419A-BD98-31EB3DE41133}"/>
          </ac:spMkLst>
        </pc:spChg>
        <pc:spChg chg="add del mod ord">
          <ac:chgData name="Thomas Stensitzki" userId="75cafe6b-2f2a-469b-85c4-eec3b9c972ba" providerId="ADAL" clId="{3D2749B5-D91D-4721-B325-106381EFF4FD}" dt="2020-08-01T12:39:54.368" v="3046" actId="700"/>
          <ac:spMkLst>
            <pc:docMk/>
            <pc:sldMk cId="2026484306" sldId="273"/>
            <ac:spMk id="7" creationId="{DF92EA27-77EE-41CC-9596-B957C9FDA62E}"/>
          </ac:spMkLst>
        </pc:spChg>
        <pc:spChg chg="add del mod ord">
          <ac:chgData name="Thomas Stensitzki" userId="75cafe6b-2f2a-469b-85c4-eec3b9c972ba" providerId="ADAL" clId="{3D2749B5-D91D-4721-B325-106381EFF4FD}" dt="2020-08-01T12:39:54.368" v="3046" actId="700"/>
          <ac:spMkLst>
            <pc:docMk/>
            <pc:sldMk cId="2026484306" sldId="273"/>
            <ac:spMk id="8" creationId="{094B994B-B087-4E40-973A-3EA2B50C806F}"/>
          </ac:spMkLst>
        </pc:spChg>
        <pc:spChg chg="add del mod">
          <ac:chgData name="Thomas Stensitzki" userId="75cafe6b-2f2a-469b-85c4-eec3b9c972ba" providerId="ADAL" clId="{3D2749B5-D91D-4721-B325-106381EFF4FD}" dt="2020-08-01T12:44:49.621" v="3483" actId="478"/>
          <ac:spMkLst>
            <pc:docMk/>
            <pc:sldMk cId="2026484306" sldId="273"/>
            <ac:spMk id="10" creationId="{B78B83DC-FF83-4826-8B1E-C22F5069359C}"/>
          </ac:spMkLst>
        </pc:spChg>
        <pc:spChg chg="add del mod">
          <ac:chgData name="Thomas Stensitzki" userId="75cafe6b-2f2a-469b-85c4-eec3b9c972ba" providerId="ADAL" clId="{3D2749B5-D91D-4721-B325-106381EFF4FD}" dt="2020-08-01T12:44:49.621" v="3483" actId="478"/>
          <ac:spMkLst>
            <pc:docMk/>
            <pc:sldMk cId="2026484306" sldId="273"/>
            <ac:spMk id="12" creationId="{BD8C7574-9F8E-4859-900B-AA66330FB6E8}"/>
          </ac:spMkLst>
        </pc:spChg>
        <pc:spChg chg="add mod">
          <ac:chgData name="Thomas Stensitzki" userId="75cafe6b-2f2a-469b-85c4-eec3b9c972ba" providerId="ADAL" clId="{3D2749B5-D91D-4721-B325-106381EFF4FD}" dt="2020-08-01T12:45:06.379" v="3507"/>
          <ac:spMkLst>
            <pc:docMk/>
            <pc:sldMk cId="2026484306" sldId="273"/>
            <ac:spMk id="13" creationId="{19DB84D0-ECCB-4128-802C-7E91BD152A8E}"/>
          </ac:spMkLst>
        </pc:spChg>
        <pc:spChg chg="add mod">
          <ac:chgData name="Thomas Stensitzki" userId="75cafe6b-2f2a-469b-85c4-eec3b9c972ba" providerId="ADAL" clId="{3D2749B5-D91D-4721-B325-106381EFF4FD}" dt="2020-08-01T12:45:06.379" v="3507"/>
          <ac:spMkLst>
            <pc:docMk/>
            <pc:sldMk cId="2026484306" sldId="273"/>
            <ac:spMk id="14" creationId="{7FFEF20F-1548-4881-BE82-D041EDFAE596}"/>
          </ac:spMkLst>
        </pc:spChg>
      </pc:sldChg>
      <pc:sldChg chg="modSp add mod ord modTransition">
        <pc:chgData name="Thomas Stensitzki" userId="75cafe6b-2f2a-469b-85c4-eec3b9c972ba" providerId="ADAL" clId="{3D2749B5-D91D-4721-B325-106381EFF4FD}" dt="2020-08-02T11:48:56.169" v="6619"/>
        <pc:sldMkLst>
          <pc:docMk/>
          <pc:sldMk cId="1916615734" sldId="274"/>
        </pc:sldMkLst>
        <pc:spChg chg="mod">
          <ac:chgData name="Thomas Stensitzki" userId="75cafe6b-2f2a-469b-85c4-eec3b9c972ba" providerId="ADAL" clId="{3D2749B5-D91D-4721-B325-106381EFF4FD}" dt="2020-08-02T11:39:26.756" v="6032" actId="20577"/>
          <ac:spMkLst>
            <pc:docMk/>
            <pc:sldMk cId="1916615734" sldId="274"/>
            <ac:spMk id="4" creationId="{70E8EAA7-76C4-4D2B-81CE-57CA4627D39E}"/>
          </ac:spMkLst>
        </pc:spChg>
        <pc:spChg chg="mod">
          <ac:chgData name="Thomas Stensitzki" userId="75cafe6b-2f2a-469b-85c4-eec3b9c972ba" providerId="ADAL" clId="{3D2749B5-D91D-4721-B325-106381EFF4FD}" dt="2020-08-02T11:39:12.480" v="6016" actId="20577"/>
          <ac:spMkLst>
            <pc:docMk/>
            <pc:sldMk cId="1916615734" sldId="274"/>
            <ac:spMk id="5" creationId="{94140262-613E-47E0-8110-F2C2EDE2EFD9}"/>
          </ac:spMkLst>
        </pc:spChg>
      </pc:sldChg>
      <pc:sldChg chg="modSp add modTransition">
        <pc:chgData name="Thomas Stensitzki" userId="75cafe6b-2f2a-469b-85c4-eec3b9c972ba" providerId="ADAL" clId="{3D2749B5-D91D-4721-B325-106381EFF4FD}" dt="2020-08-02T12:00:53.130" v="6689" actId="20577"/>
        <pc:sldMkLst>
          <pc:docMk/>
          <pc:sldMk cId="2524144046" sldId="275"/>
        </pc:sldMkLst>
        <pc:spChg chg="mod">
          <ac:chgData name="Thomas Stensitzki" userId="75cafe6b-2f2a-469b-85c4-eec3b9c972ba" providerId="ADAL" clId="{3D2749B5-D91D-4721-B325-106381EFF4FD}" dt="2020-08-02T12:00:53.130" v="6689" actId="20577"/>
          <ac:spMkLst>
            <pc:docMk/>
            <pc:sldMk cId="2524144046" sldId="275"/>
            <ac:spMk id="5" creationId="{94140262-613E-47E0-8110-F2C2EDE2EFD9}"/>
          </ac:spMkLst>
        </pc:spChg>
      </pc:sldChg>
      <pc:sldChg chg="addSp delSp modSp new mod modTransition modClrScheme modAnim chgLayout">
        <pc:chgData name="Thomas Stensitzki" userId="75cafe6b-2f2a-469b-85c4-eec3b9c972ba" providerId="ADAL" clId="{3D2749B5-D91D-4721-B325-106381EFF4FD}" dt="2020-08-02T11:59:06.566" v="6656"/>
        <pc:sldMkLst>
          <pc:docMk/>
          <pc:sldMk cId="2249543844" sldId="276"/>
        </pc:sldMkLst>
        <pc:spChg chg="del mod ord">
          <ac:chgData name="Thomas Stensitzki" userId="75cafe6b-2f2a-469b-85c4-eec3b9c972ba" providerId="ADAL" clId="{3D2749B5-D91D-4721-B325-106381EFF4FD}" dt="2020-08-01T12:57:14.973" v="4015" actId="700"/>
          <ac:spMkLst>
            <pc:docMk/>
            <pc:sldMk cId="2249543844" sldId="276"/>
            <ac:spMk id="2" creationId="{45F89939-CF82-4BCC-AF11-60E4E7FC5CC5}"/>
          </ac:spMkLst>
        </pc:spChg>
        <pc:spChg chg="add mod">
          <ac:chgData name="Thomas Stensitzki" userId="75cafe6b-2f2a-469b-85c4-eec3b9c972ba" providerId="ADAL" clId="{3D2749B5-D91D-4721-B325-106381EFF4FD}" dt="2020-08-01T13:12:02.629" v="4220" actId="14100"/>
          <ac:spMkLst>
            <pc:docMk/>
            <pc:sldMk cId="2249543844" sldId="276"/>
            <ac:spMk id="2" creationId="{AE415BB2-40F1-4288-93B4-41AF4A1DCEBB}"/>
          </ac:spMkLst>
        </pc:spChg>
        <pc:spChg chg="del mod ord">
          <ac:chgData name="Thomas Stensitzki" userId="75cafe6b-2f2a-469b-85c4-eec3b9c972ba" providerId="ADAL" clId="{3D2749B5-D91D-4721-B325-106381EFF4FD}" dt="2020-08-01T12:57:14.973" v="4015" actId="700"/>
          <ac:spMkLst>
            <pc:docMk/>
            <pc:sldMk cId="2249543844" sldId="276"/>
            <ac:spMk id="3" creationId="{383A3917-20DD-4F32-A033-C15E5264C3E0}"/>
          </ac:spMkLst>
        </pc:spChg>
        <pc:spChg chg="add mod">
          <ac:chgData name="Thomas Stensitzki" userId="75cafe6b-2f2a-469b-85c4-eec3b9c972ba" providerId="ADAL" clId="{3D2749B5-D91D-4721-B325-106381EFF4FD}" dt="2020-08-01T13:11:59.050" v="4219" actId="14100"/>
          <ac:spMkLst>
            <pc:docMk/>
            <pc:sldMk cId="2249543844" sldId="276"/>
            <ac:spMk id="3" creationId="{884490F9-4ABC-4F36-B8CF-E3817CDBA76C}"/>
          </ac:spMkLst>
        </pc:spChg>
        <pc:spChg chg="add mod ord">
          <ac:chgData name="Thomas Stensitzki" userId="75cafe6b-2f2a-469b-85c4-eec3b9c972ba" providerId="ADAL" clId="{3D2749B5-D91D-4721-B325-106381EFF4FD}" dt="2020-08-01T13:05:47.258" v="4131" actId="6549"/>
          <ac:spMkLst>
            <pc:docMk/>
            <pc:sldMk cId="2249543844" sldId="276"/>
            <ac:spMk id="4" creationId="{0C6BA4AE-488D-4769-8267-7C9F1220BD37}"/>
          </ac:spMkLst>
        </pc:spChg>
        <pc:spChg chg="add del mod ord">
          <ac:chgData name="Thomas Stensitzki" userId="75cafe6b-2f2a-469b-85c4-eec3b9c972ba" providerId="ADAL" clId="{3D2749B5-D91D-4721-B325-106381EFF4FD}" dt="2020-08-01T13:04:35.933" v="4086" actId="478"/>
          <ac:spMkLst>
            <pc:docMk/>
            <pc:sldMk cId="2249543844" sldId="276"/>
            <ac:spMk id="5" creationId="{F36689B9-2098-4150-A48C-314DBC009CC1}"/>
          </ac:spMkLst>
        </pc:spChg>
        <pc:spChg chg="add del mod">
          <ac:chgData name="Thomas Stensitzki" userId="75cafe6b-2f2a-469b-85c4-eec3b9c972ba" providerId="ADAL" clId="{3D2749B5-D91D-4721-B325-106381EFF4FD}" dt="2020-08-01T13:05:17.040" v="4094" actId="478"/>
          <ac:spMkLst>
            <pc:docMk/>
            <pc:sldMk cId="2249543844" sldId="276"/>
            <ac:spMk id="6" creationId="{80AC9232-6F01-4E63-9FFD-6376AC99BB05}"/>
          </ac:spMkLst>
        </pc:spChg>
        <pc:spChg chg="add del mod ord">
          <ac:chgData name="Thomas Stensitzki" userId="75cafe6b-2f2a-469b-85c4-eec3b9c972ba" providerId="ADAL" clId="{3D2749B5-D91D-4721-B325-106381EFF4FD}" dt="2020-08-01T13:09:10.484" v="4165" actId="478"/>
          <ac:spMkLst>
            <pc:docMk/>
            <pc:sldMk cId="2249543844" sldId="276"/>
            <ac:spMk id="7" creationId="{39C34091-F64C-43C7-9E14-6AAAD896F484}"/>
          </ac:spMkLst>
        </pc:spChg>
        <pc:spChg chg="add del mod ord">
          <ac:chgData name="Thomas Stensitzki" userId="75cafe6b-2f2a-469b-85c4-eec3b9c972ba" providerId="ADAL" clId="{3D2749B5-D91D-4721-B325-106381EFF4FD}" dt="2020-08-01T13:09:10.484" v="4165" actId="478"/>
          <ac:spMkLst>
            <pc:docMk/>
            <pc:sldMk cId="2249543844" sldId="276"/>
            <ac:spMk id="8" creationId="{4374021E-F3C5-41EF-A8C4-1B52C6FA7C03}"/>
          </ac:spMkLst>
        </pc:spChg>
        <pc:spChg chg="add del mod ord">
          <ac:chgData name="Thomas Stensitzki" userId="75cafe6b-2f2a-469b-85c4-eec3b9c972ba" providerId="ADAL" clId="{3D2749B5-D91D-4721-B325-106381EFF4FD}" dt="2020-08-01T13:06:04.658" v="4135" actId="478"/>
          <ac:spMkLst>
            <pc:docMk/>
            <pc:sldMk cId="2249543844" sldId="276"/>
            <ac:spMk id="9" creationId="{F0EBA65C-C7E1-4BA4-8BFD-290E0BE8B864}"/>
          </ac:spMkLst>
        </pc:spChg>
        <pc:spChg chg="add del mod ord">
          <ac:chgData name="Thomas Stensitzki" userId="75cafe6b-2f2a-469b-85c4-eec3b9c972ba" providerId="ADAL" clId="{3D2749B5-D91D-4721-B325-106381EFF4FD}" dt="2020-08-01T13:09:10.484" v="4165" actId="478"/>
          <ac:spMkLst>
            <pc:docMk/>
            <pc:sldMk cId="2249543844" sldId="276"/>
            <ac:spMk id="10" creationId="{EC487A8E-ED8E-415B-AB90-B0B70A1395B2}"/>
          </ac:spMkLst>
        </pc:spChg>
        <pc:spChg chg="add del mod">
          <ac:chgData name="Thomas Stensitzki" userId="75cafe6b-2f2a-469b-85c4-eec3b9c972ba" providerId="ADAL" clId="{3D2749B5-D91D-4721-B325-106381EFF4FD}" dt="2020-08-01T13:09:10.484" v="4165" actId="478"/>
          <ac:spMkLst>
            <pc:docMk/>
            <pc:sldMk cId="2249543844" sldId="276"/>
            <ac:spMk id="11" creationId="{CB9A1EE9-47C5-4A13-9B52-7883D233BADC}"/>
          </ac:spMkLst>
        </pc:spChg>
        <pc:spChg chg="add del mod">
          <ac:chgData name="Thomas Stensitzki" userId="75cafe6b-2f2a-469b-85c4-eec3b9c972ba" providerId="ADAL" clId="{3D2749B5-D91D-4721-B325-106381EFF4FD}" dt="2020-08-01T13:09:13.548" v="4166" actId="478"/>
          <ac:spMkLst>
            <pc:docMk/>
            <pc:sldMk cId="2249543844" sldId="276"/>
            <ac:spMk id="13" creationId="{30570744-0538-48A1-B7A8-CD403ADCC46F}"/>
          </ac:spMkLst>
        </pc:spChg>
        <pc:spChg chg="add del mod">
          <ac:chgData name="Thomas Stensitzki" userId="75cafe6b-2f2a-469b-85c4-eec3b9c972ba" providerId="ADAL" clId="{3D2749B5-D91D-4721-B325-106381EFF4FD}" dt="2020-08-01T13:45:59.472" v="4929" actId="478"/>
          <ac:spMkLst>
            <pc:docMk/>
            <pc:sldMk cId="2249543844" sldId="276"/>
            <ac:spMk id="49" creationId="{6EEBD943-2102-42E4-A20E-62E045409469}"/>
          </ac:spMkLst>
        </pc:spChg>
        <pc:spChg chg="add del mod">
          <ac:chgData name="Thomas Stensitzki" userId="75cafe6b-2f2a-469b-85c4-eec3b9c972ba" providerId="ADAL" clId="{3D2749B5-D91D-4721-B325-106381EFF4FD}" dt="2020-08-01T13:35:22.292" v="4496" actId="478"/>
          <ac:spMkLst>
            <pc:docMk/>
            <pc:sldMk cId="2249543844" sldId="276"/>
            <ac:spMk id="75" creationId="{8CD8C8D8-FFAF-4467-B334-B256F0EB2658}"/>
          </ac:spMkLst>
        </pc:spChg>
        <pc:spChg chg="add mod">
          <ac:chgData name="Thomas Stensitzki" userId="75cafe6b-2f2a-469b-85c4-eec3b9c972ba" providerId="ADAL" clId="{3D2749B5-D91D-4721-B325-106381EFF4FD}" dt="2020-08-01T13:45:29.900" v="4927" actId="108"/>
          <ac:spMkLst>
            <pc:docMk/>
            <pc:sldMk cId="2249543844" sldId="276"/>
            <ac:spMk id="77" creationId="{3B0689A5-E28A-4141-B428-E28380F714E9}"/>
          </ac:spMkLst>
        </pc:spChg>
        <pc:spChg chg="add mod">
          <ac:chgData name="Thomas Stensitzki" userId="75cafe6b-2f2a-469b-85c4-eec3b9c972ba" providerId="ADAL" clId="{3D2749B5-D91D-4721-B325-106381EFF4FD}" dt="2020-08-01T13:45:56.852" v="4928" actId="693"/>
          <ac:spMkLst>
            <pc:docMk/>
            <pc:sldMk cId="2249543844" sldId="276"/>
            <ac:spMk id="78" creationId="{A18C7087-7464-4304-8A4A-6829BB7EB5A2}"/>
          </ac:spMkLst>
        </pc:spChg>
        <pc:spChg chg="add mod">
          <ac:chgData name="Thomas Stensitzki" userId="75cafe6b-2f2a-469b-85c4-eec3b9c972ba" providerId="ADAL" clId="{3D2749B5-D91D-4721-B325-106381EFF4FD}" dt="2020-08-02T11:52:48.552" v="6633" actId="164"/>
          <ac:spMkLst>
            <pc:docMk/>
            <pc:sldMk cId="2249543844" sldId="276"/>
            <ac:spMk id="81" creationId="{C44FE940-E56C-48FF-91F0-A8F6795CA149}"/>
          </ac:spMkLst>
        </pc:spChg>
        <pc:spChg chg="add mod">
          <ac:chgData name="Thomas Stensitzki" userId="75cafe6b-2f2a-469b-85c4-eec3b9c972ba" providerId="ADAL" clId="{3D2749B5-D91D-4721-B325-106381EFF4FD}" dt="2020-08-02T11:55:52.816" v="6646" actId="164"/>
          <ac:spMkLst>
            <pc:docMk/>
            <pc:sldMk cId="2249543844" sldId="276"/>
            <ac:spMk id="84" creationId="{7D97CBBF-BF56-4073-A4A5-456BBE7B2DC3}"/>
          </ac:spMkLst>
        </pc:spChg>
        <pc:spChg chg="add mod">
          <ac:chgData name="Thomas Stensitzki" userId="75cafe6b-2f2a-469b-85c4-eec3b9c972ba" providerId="ADAL" clId="{3D2749B5-D91D-4721-B325-106381EFF4FD}" dt="2020-08-01T13:45:22.447" v="4926" actId="108"/>
          <ac:spMkLst>
            <pc:docMk/>
            <pc:sldMk cId="2249543844" sldId="276"/>
            <ac:spMk id="87" creationId="{D1A14FFC-9568-4CA9-9FD5-264F9CE6ED72}"/>
          </ac:spMkLst>
        </pc:spChg>
        <pc:spChg chg="add mod">
          <ac:chgData name="Thomas Stensitzki" userId="75cafe6b-2f2a-469b-85c4-eec3b9c972ba" providerId="ADAL" clId="{3D2749B5-D91D-4721-B325-106381EFF4FD}" dt="2020-08-01T13:45:06.269" v="4918" actId="1035"/>
          <ac:spMkLst>
            <pc:docMk/>
            <pc:sldMk cId="2249543844" sldId="276"/>
            <ac:spMk id="89" creationId="{D138E72C-2BFE-4707-83B8-7A43CAB31284}"/>
          </ac:spMkLst>
        </pc:spChg>
        <pc:grpChg chg="add mod">
          <ac:chgData name="Thomas Stensitzki" userId="75cafe6b-2f2a-469b-85c4-eec3b9c972ba" providerId="ADAL" clId="{3D2749B5-D91D-4721-B325-106381EFF4FD}" dt="2020-08-02T11:49:56.381" v="6622" actId="164"/>
          <ac:grpSpMkLst>
            <pc:docMk/>
            <pc:sldMk cId="2249543844" sldId="276"/>
            <ac:grpSpMk id="5" creationId="{91BC6EFD-423C-4C54-8D52-97BDEA1D33FC}"/>
          </ac:grpSpMkLst>
        </pc:grpChg>
        <pc:grpChg chg="add mod">
          <ac:chgData name="Thomas Stensitzki" userId="75cafe6b-2f2a-469b-85c4-eec3b9c972ba" providerId="ADAL" clId="{3D2749B5-D91D-4721-B325-106381EFF4FD}" dt="2020-08-02T11:52:12.722" v="6630" actId="164"/>
          <ac:grpSpMkLst>
            <pc:docMk/>
            <pc:sldMk cId="2249543844" sldId="276"/>
            <ac:grpSpMk id="6" creationId="{A855D1A1-B62B-4502-B4F4-B1594B6B0D88}"/>
          </ac:grpSpMkLst>
        </pc:grpChg>
        <pc:grpChg chg="add mod">
          <ac:chgData name="Thomas Stensitzki" userId="75cafe6b-2f2a-469b-85c4-eec3b9c972ba" providerId="ADAL" clId="{3D2749B5-D91D-4721-B325-106381EFF4FD}" dt="2020-08-02T11:52:48.552" v="6633" actId="164"/>
          <ac:grpSpMkLst>
            <pc:docMk/>
            <pc:sldMk cId="2249543844" sldId="276"/>
            <ac:grpSpMk id="8" creationId="{16502A45-F7F7-4864-8B4F-F530BC0607F3}"/>
          </ac:grpSpMkLst>
        </pc:grpChg>
        <pc:grpChg chg="add mod">
          <ac:chgData name="Thomas Stensitzki" userId="75cafe6b-2f2a-469b-85c4-eec3b9c972ba" providerId="ADAL" clId="{3D2749B5-D91D-4721-B325-106381EFF4FD}" dt="2020-08-02T11:54:35.833" v="6641" actId="164"/>
          <ac:grpSpMkLst>
            <pc:docMk/>
            <pc:sldMk cId="2249543844" sldId="276"/>
            <ac:grpSpMk id="10" creationId="{CF4A5E92-1AB1-484C-A4C2-6DCD466DF537}"/>
          </ac:grpSpMkLst>
        </pc:grpChg>
        <pc:grpChg chg="add mod">
          <ac:chgData name="Thomas Stensitzki" userId="75cafe6b-2f2a-469b-85c4-eec3b9c972ba" providerId="ADAL" clId="{3D2749B5-D91D-4721-B325-106381EFF4FD}" dt="2020-08-02T11:55:52.816" v="6646" actId="164"/>
          <ac:grpSpMkLst>
            <pc:docMk/>
            <pc:sldMk cId="2249543844" sldId="276"/>
            <ac:grpSpMk id="12" creationId="{4AB48735-2E50-4655-AC75-AA3F4503A0E7}"/>
          </ac:grpSpMkLst>
        </pc:grpChg>
        <pc:picChg chg="add mod">
          <ac:chgData name="Thomas Stensitzki" userId="75cafe6b-2f2a-469b-85c4-eec3b9c972ba" providerId="ADAL" clId="{3D2749B5-D91D-4721-B325-106381EFF4FD}" dt="2020-08-02T11:49:56.381" v="6622" actId="164"/>
          <ac:picMkLst>
            <pc:docMk/>
            <pc:sldMk cId="2249543844" sldId="276"/>
            <ac:picMk id="7" creationId="{FCE77B75-AC03-4DD8-B1C7-B9067B06498E}"/>
          </ac:picMkLst>
        </pc:picChg>
        <pc:picChg chg="add mod">
          <ac:chgData name="Thomas Stensitzki" userId="75cafe6b-2f2a-469b-85c4-eec3b9c972ba" providerId="ADAL" clId="{3D2749B5-D91D-4721-B325-106381EFF4FD}" dt="2020-08-02T11:49:56.381" v="6622" actId="164"/>
          <ac:picMkLst>
            <pc:docMk/>
            <pc:sldMk cId="2249543844" sldId="276"/>
            <ac:picMk id="9" creationId="{73D47062-03E0-4A40-8D80-49370B8E0F75}"/>
          </ac:picMkLst>
        </pc:picChg>
        <pc:picChg chg="add mod">
          <ac:chgData name="Thomas Stensitzki" userId="75cafe6b-2f2a-469b-85c4-eec3b9c972ba" providerId="ADAL" clId="{3D2749B5-D91D-4721-B325-106381EFF4FD}" dt="2020-08-02T11:52:12.722" v="6630" actId="164"/>
          <ac:picMkLst>
            <pc:docMk/>
            <pc:sldMk cId="2249543844" sldId="276"/>
            <ac:picMk id="11" creationId="{8BC0E034-0F6A-4453-A1A9-9B9A6D72DFCD}"/>
          </ac:picMkLst>
        </pc:picChg>
        <pc:picChg chg="add mod">
          <ac:chgData name="Thomas Stensitzki" userId="75cafe6b-2f2a-469b-85c4-eec3b9c972ba" providerId="ADAL" clId="{3D2749B5-D91D-4721-B325-106381EFF4FD}" dt="2020-08-02T11:52:12.722" v="6630" actId="164"/>
          <ac:picMkLst>
            <pc:docMk/>
            <pc:sldMk cId="2249543844" sldId="276"/>
            <ac:picMk id="13" creationId="{195A574B-E760-4BD4-809B-2B1E414A3BC7}"/>
          </ac:picMkLst>
        </pc:picChg>
        <pc:picChg chg="add del">
          <ac:chgData name="Thomas Stensitzki" userId="75cafe6b-2f2a-469b-85c4-eec3b9c972ba" providerId="ADAL" clId="{3D2749B5-D91D-4721-B325-106381EFF4FD}" dt="2020-08-01T13:13:33.901" v="4225" actId="478"/>
          <ac:picMkLst>
            <pc:docMk/>
            <pc:sldMk cId="2249543844" sldId="276"/>
            <ac:picMk id="14" creationId="{36E0B8CF-9999-4CFF-833F-7B80DAFA56A6}"/>
          </ac:picMkLst>
        </pc:picChg>
        <pc:picChg chg="add del mod">
          <ac:chgData name="Thomas Stensitzki" userId="75cafe6b-2f2a-469b-85c4-eec3b9c972ba" providerId="ADAL" clId="{3D2749B5-D91D-4721-B325-106381EFF4FD}" dt="2020-08-01T13:25:51.254" v="4273" actId="478"/>
          <ac:picMkLst>
            <pc:docMk/>
            <pc:sldMk cId="2249543844" sldId="276"/>
            <ac:picMk id="15" creationId="{9EF7E2B1-756B-4B5D-A8BD-84938C2EA1E1}"/>
          </ac:picMkLst>
        </pc:picChg>
        <pc:picChg chg="add mod">
          <ac:chgData name="Thomas Stensitzki" userId="75cafe6b-2f2a-469b-85c4-eec3b9c972ba" providerId="ADAL" clId="{3D2749B5-D91D-4721-B325-106381EFF4FD}" dt="2020-08-01T13:35:31.517" v="4521" actId="1035"/>
          <ac:picMkLst>
            <pc:docMk/>
            <pc:sldMk cId="2249543844" sldId="276"/>
            <ac:picMk id="17" creationId="{465B73BA-5446-47C3-B344-A9DD67221103}"/>
          </ac:picMkLst>
        </pc:picChg>
        <pc:picChg chg="add del mod">
          <ac:chgData name="Thomas Stensitzki" userId="75cafe6b-2f2a-469b-85c4-eec3b9c972ba" providerId="ADAL" clId="{3D2749B5-D91D-4721-B325-106381EFF4FD}" dt="2020-08-01T13:15:02.934" v="4235" actId="22"/>
          <ac:picMkLst>
            <pc:docMk/>
            <pc:sldMk cId="2249543844" sldId="276"/>
            <ac:picMk id="19" creationId="{E9C4A99A-2E5E-4E6A-A717-9B85B54937AC}"/>
          </ac:picMkLst>
        </pc:picChg>
        <pc:picChg chg="add mod">
          <ac:chgData name="Thomas Stensitzki" userId="75cafe6b-2f2a-469b-85c4-eec3b9c972ba" providerId="ADAL" clId="{3D2749B5-D91D-4721-B325-106381EFF4FD}" dt="2020-08-01T13:35:31.517" v="4521" actId="1035"/>
          <ac:picMkLst>
            <pc:docMk/>
            <pc:sldMk cId="2249543844" sldId="276"/>
            <ac:picMk id="21" creationId="{D8522D14-3B35-497F-B604-FD495B2939C7}"/>
          </ac:picMkLst>
        </pc:picChg>
        <pc:picChg chg="add mod">
          <ac:chgData name="Thomas Stensitzki" userId="75cafe6b-2f2a-469b-85c4-eec3b9c972ba" providerId="ADAL" clId="{3D2749B5-D91D-4721-B325-106381EFF4FD}" dt="2020-08-02T11:52:48.552" v="6633" actId="164"/>
          <ac:picMkLst>
            <pc:docMk/>
            <pc:sldMk cId="2249543844" sldId="276"/>
            <ac:picMk id="23" creationId="{54C5E955-BFB2-4C28-90BE-59745007CB63}"/>
          </ac:picMkLst>
        </pc:picChg>
        <pc:picChg chg="add del mod">
          <ac:chgData name="Thomas Stensitzki" userId="75cafe6b-2f2a-469b-85c4-eec3b9c972ba" providerId="ADAL" clId="{3D2749B5-D91D-4721-B325-106381EFF4FD}" dt="2020-08-01T13:21:48.220" v="4260" actId="478"/>
          <ac:picMkLst>
            <pc:docMk/>
            <pc:sldMk cId="2249543844" sldId="276"/>
            <ac:picMk id="25" creationId="{2E88ED05-46FE-468A-A6CF-DB19B5EFA9BB}"/>
          </ac:picMkLst>
        </pc:picChg>
        <pc:picChg chg="add mod ord">
          <ac:chgData name="Thomas Stensitzki" userId="75cafe6b-2f2a-469b-85c4-eec3b9c972ba" providerId="ADAL" clId="{3D2749B5-D91D-4721-B325-106381EFF4FD}" dt="2020-08-02T11:53:02.642" v="6635" actId="166"/>
          <ac:picMkLst>
            <pc:docMk/>
            <pc:sldMk cId="2249543844" sldId="276"/>
            <ac:picMk id="27" creationId="{801D0EB6-23D9-467B-9CA9-0033B132C70A}"/>
          </ac:picMkLst>
        </pc:picChg>
        <pc:picChg chg="add del mod">
          <ac:chgData name="Thomas Stensitzki" userId="75cafe6b-2f2a-469b-85c4-eec3b9c972ba" providerId="ADAL" clId="{3D2749B5-D91D-4721-B325-106381EFF4FD}" dt="2020-08-01T13:21:53.541" v="4262" actId="478"/>
          <ac:picMkLst>
            <pc:docMk/>
            <pc:sldMk cId="2249543844" sldId="276"/>
            <ac:picMk id="31" creationId="{9A0DB093-FD38-42AB-B7AC-EBF80983F6FB}"/>
          </ac:picMkLst>
        </pc:picChg>
        <pc:picChg chg="add mod">
          <ac:chgData name="Thomas Stensitzki" userId="75cafe6b-2f2a-469b-85c4-eec3b9c972ba" providerId="ADAL" clId="{3D2749B5-D91D-4721-B325-106381EFF4FD}" dt="2020-08-02T11:52:48.552" v="6633" actId="164"/>
          <ac:picMkLst>
            <pc:docMk/>
            <pc:sldMk cId="2249543844" sldId="276"/>
            <ac:picMk id="33" creationId="{60EBF21B-64BF-44F9-BA3F-F2C2FDAD6D43}"/>
          </ac:picMkLst>
        </pc:picChg>
        <pc:picChg chg="add mod">
          <ac:chgData name="Thomas Stensitzki" userId="75cafe6b-2f2a-469b-85c4-eec3b9c972ba" providerId="ADAL" clId="{3D2749B5-D91D-4721-B325-106381EFF4FD}" dt="2020-08-01T13:34:49.425" v="4493" actId="1038"/>
          <ac:picMkLst>
            <pc:docMk/>
            <pc:sldMk cId="2249543844" sldId="276"/>
            <ac:picMk id="35" creationId="{7F9A0FE5-FC83-435E-BEAF-74E2A560B565}"/>
          </ac:picMkLst>
        </pc:picChg>
        <pc:picChg chg="add mod">
          <ac:chgData name="Thomas Stensitzki" userId="75cafe6b-2f2a-469b-85c4-eec3b9c972ba" providerId="ADAL" clId="{3D2749B5-D91D-4721-B325-106381EFF4FD}" dt="2020-08-01T13:35:31.517" v="4521" actId="1035"/>
          <ac:picMkLst>
            <pc:docMk/>
            <pc:sldMk cId="2249543844" sldId="276"/>
            <ac:picMk id="37" creationId="{B9605D74-1454-4951-B2E8-1866B8BACFB3}"/>
          </ac:picMkLst>
        </pc:picChg>
        <pc:picChg chg="add mod">
          <ac:chgData name="Thomas Stensitzki" userId="75cafe6b-2f2a-469b-85c4-eec3b9c972ba" providerId="ADAL" clId="{3D2749B5-D91D-4721-B325-106381EFF4FD}" dt="2020-08-01T13:25:26.486" v="4271" actId="1076"/>
          <ac:picMkLst>
            <pc:docMk/>
            <pc:sldMk cId="2249543844" sldId="276"/>
            <ac:picMk id="39" creationId="{049F93DE-2115-46A9-86F7-32320111FD3E}"/>
          </ac:picMkLst>
        </pc:picChg>
        <pc:picChg chg="add mod">
          <ac:chgData name="Thomas Stensitzki" userId="75cafe6b-2f2a-469b-85c4-eec3b9c972ba" providerId="ADAL" clId="{3D2749B5-D91D-4721-B325-106381EFF4FD}" dt="2020-08-01T13:25:58.996" v="4274" actId="1076"/>
          <ac:picMkLst>
            <pc:docMk/>
            <pc:sldMk cId="2249543844" sldId="276"/>
            <ac:picMk id="41" creationId="{8553737E-3838-4EB0-87B5-F9142EA00EF4}"/>
          </ac:picMkLst>
        </pc:picChg>
        <pc:picChg chg="add mod">
          <ac:chgData name="Thomas Stensitzki" userId="75cafe6b-2f2a-469b-85c4-eec3b9c972ba" providerId="ADAL" clId="{3D2749B5-D91D-4721-B325-106381EFF4FD}" dt="2020-08-02T11:52:48.552" v="6633" actId="164"/>
          <ac:picMkLst>
            <pc:docMk/>
            <pc:sldMk cId="2249543844" sldId="276"/>
            <ac:picMk id="43" creationId="{E799A841-5F10-416A-B0B2-41D914DBD555}"/>
          </ac:picMkLst>
        </pc:picChg>
        <pc:picChg chg="add mod">
          <ac:chgData name="Thomas Stensitzki" userId="75cafe6b-2f2a-469b-85c4-eec3b9c972ba" providerId="ADAL" clId="{3D2749B5-D91D-4721-B325-106381EFF4FD}" dt="2020-08-01T13:34:49.425" v="4493" actId="1038"/>
          <ac:picMkLst>
            <pc:docMk/>
            <pc:sldMk cId="2249543844" sldId="276"/>
            <ac:picMk id="45" creationId="{BFE707C9-17C2-4AC6-A0A2-333042B45CB0}"/>
          </ac:picMkLst>
        </pc:picChg>
        <pc:picChg chg="add mod">
          <ac:chgData name="Thomas Stensitzki" userId="75cafe6b-2f2a-469b-85c4-eec3b9c972ba" providerId="ADAL" clId="{3D2749B5-D91D-4721-B325-106381EFF4FD}" dt="2020-08-01T13:34:28.708" v="4466" actId="1037"/>
          <ac:picMkLst>
            <pc:docMk/>
            <pc:sldMk cId="2249543844" sldId="276"/>
            <ac:picMk id="51" creationId="{555C46D4-86A2-46E6-AC89-A49E26DB5AF8}"/>
          </ac:picMkLst>
        </pc:picChg>
        <pc:picChg chg="add mod">
          <ac:chgData name="Thomas Stensitzki" userId="75cafe6b-2f2a-469b-85c4-eec3b9c972ba" providerId="ADAL" clId="{3D2749B5-D91D-4721-B325-106381EFF4FD}" dt="2020-08-02T11:55:52.816" v="6646" actId="164"/>
          <ac:picMkLst>
            <pc:docMk/>
            <pc:sldMk cId="2249543844" sldId="276"/>
            <ac:picMk id="53" creationId="{80C87DBE-37D3-42EB-8387-D3321455336F}"/>
          </ac:picMkLst>
        </pc:picChg>
        <pc:picChg chg="add mod">
          <ac:chgData name="Thomas Stensitzki" userId="75cafe6b-2f2a-469b-85c4-eec3b9c972ba" providerId="ADAL" clId="{3D2749B5-D91D-4721-B325-106381EFF4FD}" dt="2020-08-02T11:55:52.816" v="6646" actId="164"/>
          <ac:picMkLst>
            <pc:docMk/>
            <pc:sldMk cId="2249543844" sldId="276"/>
            <ac:picMk id="55" creationId="{97A9D9B2-D42A-47D9-94FA-9094160BC4CE}"/>
          </ac:picMkLst>
        </pc:picChg>
        <pc:picChg chg="add mod ord">
          <ac:chgData name="Thomas Stensitzki" userId="75cafe6b-2f2a-469b-85c4-eec3b9c972ba" providerId="ADAL" clId="{3D2749B5-D91D-4721-B325-106381EFF4FD}" dt="2020-08-02T11:56:03.570" v="6648" actId="166"/>
          <ac:picMkLst>
            <pc:docMk/>
            <pc:sldMk cId="2249543844" sldId="276"/>
            <ac:picMk id="57" creationId="{FC8E8475-9D6B-4571-BF5A-BBEFA612DB3F}"/>
          </ac:picMkLst>
        </pc:picChg>
        <pc:picChg chg="add mod">
          <ac:chgData name="Thomas Stensitzki" userId="75cafe6b-2f2a-469b-85c4-eec3b9c972ba" providerId="ADAL" clId="{3D2749B5-D91D-4721-B325-106381EFF4FD}" dt="2020-08-02T11:55:52.816" v="6646" actId="164"/>
          <ac:picMkLst>
            <pc:docMk/>
            <pc:sldMk cId="2249543844" sldId="276"/>
            <ac:picMk id="59" creationId="{18433FF3-B644-4E9E-9F51-B21CE7AC2D96}"/>
          </ac:picMkLst>
        </pc:picChg>
        <pc:picChg chg="add mod">
          <ac:chgData name="Thomas Stensitzki" userId="75cafe6b-2f2a-469b-85c4-eec3b9c972ba" providerId="ADAL" clId="{3D2749B5-D91D-4721-B325-106381EFF4FD}" dt="2020-08-02T11:54:35.833" v="6641" actId="164"/>
          <ac:picMkLst>
            <pc:docMk/>
            <pc:sldMk cId="2249543844" sldId="276"/>
            <ac:picMk id="63" creationId="{E366B538-4114-428E-A774-AA3EE4898AA9}"/>
          </ac:picMkLst>
        </pc:picChg>
        <pc:picChg chg="add mod">
          <ac:chgData name="Thomas Stensitzki" userId="75cafe6b-2f2a-469b-85c4-eec3b9c972ba" providerId="ADAL" clId="{3D2749B5-D91D-4721-B325-106381EFF4FD}" dt="2020-08-01T13:39:05.022" v="4636" actId="1076"/>
          <ac:picMkLst>
            <pc:docMk/>
            <pc:sldMk cId="2249543844" sldId="276"/>
            <ac:picMk id="65" creationId="{23A1D244-BB3B-4F00-904B-5F972797C344}"/>
          </ac:picMkLst>
        </pc:picChg>
        <pc:picChg chg="add mod">
          <ac:chgData name="Thomas Stensitzki" userId="75cafe6b-2f2a-469b-85c4-eec3b9c972ba" providerId="ADAL" clId="{3D2749B5-D91D-4721-B325-106381EFF4FD}" dt="2020-08-02T11:54:35.833" v="6641" actId="164"/>
          <ac:picMkLst>
            <pc:docMk/>
            <pc:sldMk cId="2249543844" sldId="276"/>
            <ac:picMk id="67" creationId="{68AC87F0-026B-4E70-88A6-4DB074502262}"/>
          </ac:picMkLst>
        </pc:picChg>
        <pc:picChg chg="add del mod">
          <ac:chgData name="Thomas Stensitzki" userId="75cafe6b-2f2a-469b-85c4-eec3b9c972ba" providerId="ADAL" clId="{3D2749B5-D91D-4721-B325-106381EFF4FD}" dt="2020-08-01T13:33:20.369" v="4369" actId="478"/>
          <ac:picMkLst>
            <pc:docMk/>
            <pc:sldMk cId="2249543844" sldId="276"/>
            <ac:picMk id="69" creationId="{CBD2B3FC-1873-44F5-B2EF-E242F7EF553C}"/>
          </ac:picMkLst>
        </pc:picChg>
        <pc:picChg chg="add mod">
          <ac:chgData name="Thomas Stensitzki" userId="75cafe6b-2f2a-469b-85c4-eec3b9c972ba" providerId="ADAL" clId="{3D2749B5-D91D-4721-B325-106381EFF4FD}" dt="2020-08-01T13:39:32.435" v="4670" actId="1076"/>
          <ac:picMkLst>
            <pc:docMk/>
            <pc:sldMk cId="2249543844" sldId="276"/>
            <ac:picMk id="71" creationId="{4476A612-E265-42C6-B8A8-D22670FCC0D0}"/>
          </ac:picMkLst>
        </pc:picChg>
        <pc:picChg chg="add mod">
          <ac:chgData name="Thomas Stensitzki" userId="75cafe6b-2f2a-469b-85c4-eec3b9c972ba" providerId="ADAL" clId="{3D2749B5-D91D-4721-B325-106381EFF4FD}" dt="2020-08-01T13:39:25.395" v="4669" actId="1076"/>
          <ac:picMkLst>
            <pc:docMk/>
            <pc:sldMk cId="2249543844" sldId="276"/>
            <ac:picMk id="73" creationId="{1A163ADB-80B4-4341-BD8E-5A64140441C3}"/>
          </ac:picMkLst>
        </pc:picChg>
        <pc:cxnChg chg="add mod">
          <ac:chgData name="Thomas Stensitzki" userId="75cafe6b-2f2a-469b-85c4-eec3b9c972ba" providerId="ADAL" clId="{3D2749B5-D91D-4721-B325-106381EFF4FD}" dt="2020-08-01T13:38:30.988" v="4632" actId="14100"/>
          <ac:cxnSpMkLst>
            <pc:docMk/>
            <pc:sldMk cId="2249543844" sldId="276"/>
            <ac:cxnSpMk id="29" creationId="{64604BF4-C59A-4E6B-92C6-50632F620B88}"/>
          </ac:cxnSpMkLst>
        </pc:cxnChg>
        <pc:cxnChg chg="add mod">
          <ac:chgData name="Thomas Stensitzki" userId="75cafe6b-2f2a-469b-85c4-eec3b9c972ba" providerId="ADAL" clId="{3D2749B5-D91D-4721-B325-106381EFF4FD}" dt="2020-08-01T13:39:09.567" v="4637" actId="14100"/>
          <ac:cxnSpMkLst>
            <pc:docMk/>
            <pc:sldMk cId="2249543844" sldId="276"/>
            <ac:cxnSpMk id="61" creationId="{C886DFA8-367E-4FE9-BD87-802C5D26F6C6}"/>
          </ac:cxnSpMkLst>
        </pc:cxnChg>
      </pc:sldChg>
      <pc:sldChg chg="add del">
        <pc:chgData name="Thomas Stensitzki" userId="75cafe6b-2f2a-469b-85c4-eec3b9c972ba" providerId="ADAL" clId="{3D2749B5-D91D-4721-B325-106381EFF4FD}" dt="2020-08-01T13:04:52.368" v="4088"/>
        <pc:sldMkLst>
          <pc:docMk/>
          <pc:sldMk cId="818527639" sldId="277"/>
        </pc:sldMkLst>
      </pc:sldChg>
      <pc:sldChg chg="addSp">
        <pc:chgData name="Thomas Stensitzki" userId="75cafe6b-2f2a-469b-85c4-eec3b9c972ba" providerId="ADAL" clId="{3D2749B5-D91D-4721-B325-106381EFF4FD}" dt="2020-08-02T11:45:33.061" v="6406"/>
        <pc:sldMkLst>
          <pc:docMk/>
          <pc:sldMk cId="3259791551" sldId="277"/>
        </pc:sldMkLst>
        <pc:picChg chg="add">
          <ac:chgData name="Thomas Stensitzki" userId="75cafe6b-2f2a-469b-85c4-eec3b9c972ba" providerId="ADAL" clId="{3D2749B5-D91D-4721-B325-106381EFF4FD}" dt="2020-08-02T11:45:33.061" v="6406"/>
          <ac:picMkLst>
            <pc:docMk/>
            <pc:sldMk cId="3259791551" sldId="277"/>
            <ac:picMk id="3074" creationId="{0FA1B343-B784-4862-9102-33A991F2F94D}"/>
          </ac:picMkLst>
        </pc:picChg>
      </pc:sldChg>
      <pc:sldChg chg="addSp delSp modSp new add del mod modTransition modClrScheme modAnim chgLayout">
        <pc:chgData name="Thomas Stensitzki" userId="75cafe6b-2f2a-469b-85c4-eec3b9c972ba" providerId="ADAL" clId="{3D2749B5-D91D-4721-B325-106381EFF4FD}" dt="2020-08-02T12:12:13.847" v="6754"/>
        <pc:sldMkLst>
          <pc:docMk/>
          <pc:sldMk cId="3573374903" sldId="277"/>
        </pc:sldMkLst>
        <pc:spChg chg="del mod ord">
          <ac:chgData name="Thomas Stensitzki" userId="75cafe6b-2f2a-469b-85c4-eec3b9c972ba" providerId="ADAL" clId="{3D2749B5-D91D-4721-B325-106381EFF4FD}" dt="2020-08-02T11:43:04.643" v="6124" actId="700"/>
          <ac:spMkLst>
            <pc:docMk/>
            <pc:sldMk cId="3573374903" sldId="277"/>
            <ac:spMk id="2" creationId="{52A3C5CD-8708-459C-8A59-A81B87A8D435}"/>
          </ac:spMkLst>
        </pc:spChg>
        <pc:spChg chg="del">
          <ac:chgData name="Thomas Stensitzki" userId="75cafe6b-2f2a-469b-85c4-eec3b9c972ba" providerId="ADAL" clId="{3D2749B5-D91D-4721-B325-106381EFF4FD}" dt="2020-08-02T11:43:04.643" v="6124" actId="700"/>
          <ac:spMkLst>
            <pc:docMk/>
            <pc:sldMk cId="3573374903" sldId="277"/>
            <ac:spMk id="3" creationId="{7D73F121-1E7B-446B-96F0-EEB6C55FAA8A}"/>
          </ac:spMkLst>
        </pc:spChg>
        <pc:spChg chg="del mod ord">
          <ac:chgData name="Thomas Stensitzki" userId="75cafe6b-2f2a-469b-85c4-eec3b9c972ba" providerId="ADAL" clId="{3D2749B5-D91D-4721-B325-106381EFF4FD}" dt="2020-08-02T11:43:04.643" v="6124" actId="700"/>
          <ac:spMkLst>
            <pc:docMk/>
            <pc:sldMk cId="3573374903" sldId="277"/>
            <ac:spMk id="4" creationId="{73D5D19D-A61F-4DFD-B93B-513D0E88BD7D}"/>
          </ac:spMkLst>
        </pc:spChg>
        <pc:spChg chg="del">
          <ac:chgData name="Thomas Stensitzki" userId="75cafe6b-2f2a-469b-85c4-eec3b9c972ba" providerId="ADAL" clId="{3D2749B5-D91D-4721-B325-106381EFF4FD}" dt="2020-08-02T11:43:04.643" v="6124" actId="700"/>
          <ac:spMkLst>
            <pc:docMk/>
            <pc:sldMk cId="3573374903" sldId="277"/>
            <ac:spMk id="5" creationId="{98C7E173-8B5F-4576-9827-42D815E9B356}"/>
          </ac:spMkLst>
        </pc:spChg>
        <pc:spChg chg="del">
          <ac:chgData name="Thomas Stensitzki" userId="75cafe6b-2f2a-469b-85c4-eec3b9c972ba" providerId="ADAL" clId="{3D2749B5-D91D-4721-B325-106381EFF4FD}" dt="2020-08-02T11:43:04.643" v="6124" actId="700"/>
          <ac:spMkLst>
            <pc:docMk/>
            <pc:sldMk cId="3573374903" sldId="277"/>
            <ac:spMk id="6" creationId="{B462F736-77EB-4C41-91CB-490B30F59321}"/>
          </ac:spMkLst>
        </pc:spChg>
        <pc:spChg chg="add mod ord">
          <ac:chgData name="Thomas Stensitzki" userId="75cafe6b-2f2a-469b-85c4-eec3b9c972ba" providerId="ADAL" clId="{3D2749B5-D91D-4721-B325-106381EFF4FD}" dt="2020-08-02T11:43:40.240" v="6158" actId="108"/>
          <ac:spMkLst>
            <pc:docMk/>
            <pc:sldMk cId="3573374903" sldId="277"/>
            <ac:spMk id="7" creationId="{1BA22853-ED96-4A9A-86B8-C4CE11E847B8}"/>
          </ac:spMkLst>
        </pc:spChg>
        <pc:spChg chg="add mod ord">
          <ac:chgData name="Thomas Stensitzki" userId="75cafe6b-2f2a-469b-85c4-eec3b9c972ba" providerId="ADAL" clId="{3D2749B5-D91D-4721-B325-106381EFF4FD}" dt="2020-08-02T11:48:23.139" v="6618" actId="6549"/>
          <ac:spMkLst>
            <pc:docMk/>
            <pc:sldMk cId="3573374903" sldId="277"/>
            <ac:spMk id="8" creationId="{6370ED28-A066-4017-8986-F5A3D6700A35}"/>
          </ac:spMkLst>
        </pc:spChg>
        <pc:picChg chg="mod">
          <ac:chgData name="Thomas Stensitzki" userId="75cafe6b-2f2a-469b-85c4-eec3b9c972ba" providerId="ADAL" clId="{3D2749B5-D91D-4721-B325-106381EFF4FD}" dt="2020-08-02T11:46:13.835" v="6412" actId="1076"/>
          <ac:picMkLst>
            <pc:docMk/>
            <pc:sldMk cId="3573374903" sldId="277"/>
            <ac:picMk id="3074" creationId="{0FA1B343-B784-4862-9102-33A991F2F94D}"/>
          </ac:picMkLst>
        </pc:picChg>
      </pc:sldChg>
      <pc:sldChg chg="add del">
        <pc:chgData name="Thomas Stensitzki" userId="75cafe6b-2f2a-469b-85c4-eec3b9c972ba" providerId="ADAL" clId="{3D2749B5-D91D-4721-B325-106381EFF4FD}" dt="2020-08-01T13:04:56.396" v="4090"/>
        <pc:sldMkLst>
          <pc:docMk/>
          <pc:sldMk cId="4204100381" sldId="277"/>
        </pc:sldMkLst>
      </pc:sldChg>
    </pc:docChg>
  </pc:docChgLst>
  <pc:docChgLst>
    <pc:chgData name="Thomas Stensitzki" userId="75cafe6b-2f2a-469b-85c4-eec3b9c972ba" providerId="ADAL" clId="{CC71C08A-2804-4913-A0A2-16E51D3DDB9C}"/>
    <pc:docChg chg="custSel addSld delSld modSld modSection">
      <pc:chgData name="Thomas Stensitzki" userId="75cafe6b-2f2a-469b-85c4-eec3b9c972ba" providerId="ADAL" clId="{CC71C08A-2804-4913-A0A2-16E51D3DDB9C}" dt="2021-02-08T13:30:30.090" v="249"/>
      <pc:docMkLst>
        <pc:docMk/>
      </pc:docMkLst>
      <pc:sldChg chg="modSp mod">
        <pc:chgData name="Thomas Stensitzki" userId="75cafe6b-2f2a-469b-85c4-eec3b9c972ba" providerId="ADAL" clId="{CC71C08A-2804-4913-A0A2-16E51D3DDB9C}" dt="2021-02-08T13:02:08.947" v="20" actId="20577"/>
        <pc:sldMkLst>
          <pc:docMk/>
          <pc:sldMk cId="1331178014" sldId="256"/>
        </pc:sldMkLst>
        <pc:spChg chg="mod">
          <ac:chgData name="Thomas Stensitzki" userId="75cafe6b-2f2a-469b-85c4-eec3b9c972ba" providerId="ADAL" clId="{CC71C08A-2804-4913-A0A2-16E51D3DDB9C}" dt="2021-02-08T13:02:08.947" v="20" actId="20577"/>
          <ac:spMkLst>
            <pc:docMk/>
            <pc:sldMk cId="1331178014" sldId="256"/>
            <ac:spMk id="2" creationId="{E137B2CB-D047-404D-B8CC-C662AA78F69E}"/>
          </ac:spMkLst>
        </pc:spChg>
        <pc:spChg chg="mod">
          <ac:chgData name="Thomas Stensitzki" userId="75cafe6b-2f2a-469b-85c4-eec3b9c972ba" providerId="ADAL" clId="{CC71C08A-2804-4913-A0A2-16E51D3DDB9C}" dt="2021-02-08T13:01:59.084" v="1" actId="20577"/>
          <ac:spMkLst>
            <pc:docMk/>
            <pc:sldMk cId="1331178014" sldId="256"/>
            <ac:spMk id="3" creationId="{FD1EE5AE-531F-46B2-BC77-BEC77D90CE70}"/>
          </ac:spMkLst>
        </pc:spChg>
      </pc:sldChg>
      <pc:sldChg chg="modSp mod">
        <pc:chgData name="Thomas Stensitzki" userId="75cafe6b-2f2a-469b-85c4-eec3b9c972ba" providerId="ADAL" clId="{CC71C08A-2804-4913-A0A2-16E51D3DDB9C}" dt="2021-02-08T13:11:21.340" v="148" actId="20577"/>
        <pc:sldMkLst>
          <pc:docMk/>
          <pc:sldMk cId="1916615734" sldId="274"/>
        </pc:sldMkLst>
        <pc:spChg chg="mod">
          <ac:chgData name="Thomas Stensitzki" userId="75cafe6b-2f2a-469b-85c4-eec3b9c972ba" providerId="ADAL" clId="{CC71C08A-2804-4913-A0A2-16E51D3DDB9C}" dt="2021-02-08T13:10:25.489" v="36" actId="20577"/>
          <ac:spMkLst>
            <pc:docMk/>
            <pc:sldMk cId="1916615734" sldId="274"/>
            <ac:spMk id="4" creationId="{70E8EAA7-76C4-4D2B-81CE-57CA4627D39E}"/>
          </ac:spMkLst>
        </pc:spChg>
        <pc:spChg chg="mod">
          <ac:chgData name="Thomas Stensitzki" userId="75cafe6b-2f2a-469b-85c4-eec3b9c972ba" providerId="ADAL" clId="{CC71C08A-2804-4913-A0A2-16E51D3DDB9C}" dt="2021-02-08T13:11:21.340" v="148" actId="20577"/>
          <ac:spMkLst>
            <pc:docMk/>
            <pc:sldMk cId="1916615734" sldId="274"/>
            <ac:spMk id="5" creationId="{94140262-613E-47E0-8110-F2C2EDE2EFD9}"/>
          </ac:spMkLst>
        </pc:spChg>
      </pc:sldChg>
      <pc:sldChg chg="addSp delSp modSp new mod modClrScheme chgLayout">
        <pc:chgData name="Thomas Stensitzki" userId="75cafe6b-2f2a-469b-85c4-eec3b9c972ba" providerId="ADAL" clId="{CC71C08A-2804-4913-A0A2-16E51D3DDB9C}" dt="2021-02-08T13:27:27.955" v="245"/>
        <pc:sldMkLst>
          <pc:docMk/>
          <pc:sldMk cId="3800306062" sldId="275"/>
        </pc:sldMkLst>
        <pc:spChg chg="del mod ord">
          <ac:chgData name="Thomas Stensitzki" userId="75cafe6b-2f2a-469b-85c4-eec3b9c972ba" providerId="ADAL" clId="{CC71C08A-2804-4913-A0A2-16E51D3DDB9C}" dt="2021-02-08T13:10:14.948" v="23" actId="700"/>
          <ac:spMkLst>
            <pc:docMk/>
            <pc:sldMk cId="3800306062" sldId="275"/>
            <ac:spMk id="2" creationId="{7DD71C10-D02E-4787-BE8E-78FA52628A96}"/>
          </ac:spMkLst>
        </pc:spChg>
        <pc:spChg chg="del mod ord">
          <ac:chgData name="Thomas Stensitzki" userId="75cafe6b-2f2a-469b-85c4-eec3b9c972ba" providerId="ADAL" clId="{CC71C08A-2804-4913-A0A2-16E51D3DDB9C}" dt="2021-02-08T13:10:14.948" v="23" actId="700"/>
          <ac:spMkLst>
            <pc:docMk/>
            <pc:sldMk cId="3800306062" sldId="275"/>
            <ac:spMk id="3" creationId="{5AA9F0C1-E3C2-41C1-BA39-C484E2120019}"/>
          </ac:spMkLst>
        </pc:spChg>
        <pc:spChg chg="add mod ord">
          <ac:chgData name="Thomas Stensitzki" userId="75cafe6b-2f2a-469b-85c4-eec3b9c972ba" providerId="ADAL" clId="{CC71C08A-2804-4913-A0A2-16E51D3DDB9C}" dt="2021-02-08T13:11:52.504" v="214" actId="20577"/>
          <ac:spMkLst>
            <pc:docMk/>
            <pc:sldMk cId="3800306062" sldId="275"/>
            <ac:spMk id="4" creationId="{1B8964DA-2335-416F-BBBE-29EA00AE6E94}"/>
          </ac:spMkLst>
        </pc:spChg>
        <pc:spChg chg="add mod ord">
          <ac:chgData name="Thomas Stensitzki" userId="75cafe6b-2f2a-469b-85c4-eec3b9c972ba" providerId="ADAL" clId="{CC71C08A-2804-4913-A0A2-16E51D3DDB9C}" dt="2021-02-08T13:27:27.955" v="245"/>
          <ac:spMkLst>
            <pc:docMk/>
            <pc:sldMk cId="3800306062" sldId="275"/>
            <ac:spMk id="5" creationId="{DCF7A5B9-E28B-42E4-9DC3-95FA062D9B40}"/>
          </ac:spMkLst>
        </pc:spChg>
      </pc:sldChg>
      <pc:sldChg chg="addSp modSp new mod">
        <pc:chgData name="Thomas Stensitzki" userId="75cafe6b-2f2a-469b-85c4-eec3b9c972ba" providerId="ADAL" clId="{CC71C08A-2804-4913-A0A2-16E51D3DDB9C}" dt="2021-02-08T13:16:40.460" v="221"/>
        <pc:sldMkLst>
          <pc:docMk/>
          <pc:sldMk cId="3610249691" sldId="276"/>
        </pc:sldMkLst>
        <pc:spChg chg="mod">
          <ac:chgData name="Thomas Stensitzki" userId="75cafe6b-2f2a-469b-85c4-eec3b9c972ba" providerId="ADAL" clId="{CC71C08A-2804-4913-A0A2-16E51D3DDB9C}" dt="2021-02-08T13:16:40.460" v="221"/>
          <ac:spMkLst>
            <pc:docMk/>
            <pc:sldMk cId="3610249691" sldId="276"/>
            <ac:spMk id="3" creationId="{5A64BFFC-C523-4EAE-973D-15F7F141EA3E}"/>
          </ac:spMkLst>
        </pc:spChg>
        <pc:picChg chg="add mod">
          <ac:chgData name="Thomas Stensitzki" userId="75cafe6b-2f2a-469b-85c4-eec3b9c972ba" providerId="ADAL" clId="{CC71C08A-2804-4913-A0A2-16E51D3DDB9C}" dt="2021-02-08T13:12:30.338" v="217" actId="1076"/>
          <ac:picMkLst>
            <pc:docMk/>
            <pc:sldMk cId="3610249691" sldId="276"/>
            <ac:picMk id="5" creationId="{0FC66B5B-36DA-402F-BB69-74B81533E08E}"/>
          </ac:picMkLst>
        </pc:picChg>
      </pc:sldChg>
      <pc:sldChg chg="addSp modSp new mod">
        <pc:chgData name="Thomas Stensitzki" userId="75cafe6b-2f2a-469b-85c4-eec3b9c972ba" providerId="ADAL" clId="{CC71C08A-2804-4913-A0A2-16E51D3DDB9C}" dt="2021-02-08T13:21:07.190" v="232" actId="20577"/>
        <pc:sldMkLst>
          <pc:docMk/>
          <pc:sldMk cId="519679539" sldId="277"/>
        </pc:sldMkLst>
        <pc:spChg chg="mod">
          <ac:chgData name="Thomas Stensitzki" userId="75cafe6b-2f2a-469b-85c4-eec3b9c972ba" providerId="ADAL" clId="{CC71C08A-2804-4913-A0A2-16E51D3DDB9C}" dt="2021-02-08T13:21:07.190" v="232" actId="20577"/>
          <ac:spMkLst>
            <pc:docMk/>
            <pc:sldMk cId="519679539" sldId="277"/>
            <ac:spMk id="3" creationId="{16A8AB05-CA36-44DA-926A-54FE116E7F9A}"/>
          </ac:spMkLst>
        </pc:spChg>
        <pc:picChg chg="add mod">
          <ac:chgData name="Thomas Stensitzki" userId="75cafe6b-2f2a-469b-85c4-eec3b9c972ba" providerId="ADAL" clId="{CC71C08A-2804-4913-A0A2-16E51D3DDB9C}" dt="2021-02-08T13:20:53.186" v="225" actId="1076"/>
          <ac:picMkLst>
            <pc:docMk/>
            <pc:sldMk cId="519679539" sldId="277"/>
            <ac:picMk id="5" creationId="{21DCC207-F69D-4AAA-B88B-B8A6215C382A}"/>
          </ac:picMkLst>
        </pc:picChg>
      </pc:sldChg>
      <pc:sldChg chg="del">
        <pc:chgData name="Thomas Stensitzki" userId="75cafe6b-2f2a-469b-85c4-eec3b9c972ba" providerId="ADAL" clId="{CC71C08A-2804-4913-A0A2-16E51D3DDB9C}" dt="2021-02-08T13:02:19.304" v="21" actId="47"/>
        <pc:sldMkLst>
          <pc:docMk/>
          <pc:sldMk cId="1471672440" sldId="277"/>
        </pc:sldMkLst>
      </pc:sldChg>
      <pc:sldChg chg="addSp new mod">
        <pc:chgData name="Thomas Stensitzki" userId="75cafe6b-2f2a-469b-85c4-eec3b9c972ba" providerId="ADAL" clId="{CC71C08A-2804-4913-A0A2-16E51D3DDB9C}" dt="2021-02-08T13:20:19.632" v="222" actId="22"/>
        <pc:sldMkLst>
          <pc:docMk/>
          <pc:sldMk cId="187086544" sldId="278"/>
        </pc:sldMkLst>
        <pc:picChg chg="add">
          <ac:chgData name="Thomas Stensitzki" userId="75cafe6b-2f2a-469b-85c4-eec3b9c972ba" providerId="ADAL" clId="{CC71C08A-2804-4913-A0A2-16E51D3DDB9C}" dt="2021-02-08T13:20:19.632" v="222" actId="22"/>
          <ac:picMkLst>
            <pc:docMk/>
            <pc:sldMk cId="187086544" sldId="278"/>
            <ac:picMk id="5" creationId="{75A522DC-C795-47C8-A9D1-1CC1BE78F032}"/>
          </ac:picMkLst>
        </pc:picChg>
      </pc:sldChg>
      <pc:sldChg chg="addSp modSp new mod">
        <pc:chgData name="Thomas Stensitzki" userId="75cafe6b-2f2a-469b-85c4-eec3b9c972ba" providerId="ADAL" clId="{CC71C08A-2804-4913-A0A2-16E51D3DDB9C}" dt="2021-02-08T13:24:42.844" v="240" actId="22"/>
        <pc:sldMkLst>
          <pc:docMk/>
          <pc:sldMk cId="3258532207" sldId="279"/>
        </pc:sldMkLst>
        <pc:spChg chg="mod">
          <ac:chgData name="Thomas Stensitzki" userId="75cafe6b-2f2a-469b-85c4-eec3b9c972ba" providerId="ADAL" clId="{CC71C08A-2804-4913-A0A2-16E51D3DDB9C}" dt="2021-02-08T13:23:28.479" v="239"/>
          <ac:spMkLst>
            <pc:docMk/>
            <pc:sldMk cId="3258532207" sldId="279"/>
            <ac:spMk id="3" creationId="{3ADB07E8-4544-42E1-AC6B-54DFC8BAEAA1}"/>
          </ac:spMkLst>
        </pc:spChg>
        <pc:picChg chg="add">
          <ac:chgData name="Thomas Stensitzki" userId="75cafe6b-2f2a-469b-85c4-eec3b9c972ba" providerId="ADAL" clId="{CC71C08A-2804-4913-A0A2-16E51D3DDB9C}" dt="2021-02-08T13:24:42.844" v="240" actId="22"/>
          <ac:picMkLst>
            <pc:docMk/>
            <pc:sldMk cId="3258532207" sldId="279"/>
            <ac:picMk id="5" creationId="{D5B13E81-3E98-47EF-AA3D-40A256E80E4D}"/>
          </ac:picMkLst>
        </pc:picChg>
      </pc:sldChg>
      <pc:sldChg chg="modSp new mod">
        <pc:chgData name="Thomas Stensitzki" userId="75cafe6b-2f2a-469b-85c4-eec3b9c972ba" providerId="ADAL" clId="{CC71C08A-2804-4913-A0A2-16E51D3DDB9C}" dt="2021-02-08T13:30:30.090" v="249"/>
        <pc:sldMkLst>
          <pc:docMk/>
          <pc:sldMk cId="2469256109" sldId="280"/>
        </pc:sldMkLst>
        <pc:spChg chg="mod">
          <ac:chgData name="Thomas Stensitzki" userId="75cafe6b-2f2a-469b-85c4-eec3b9c972ba" providerId="ADAL" clId="{CC71C08A-2804-4913-A0A2-16E51D3DDB9C}" dt="2021-02-08T13:30:30.090" v="249"/>
          <ac:spMkLst>
            <pc:docMk/>
            <pc:sldMk cId="2469256109" sldId="280"/>
            <ac:spMk id="3" creationId="{8A39B34D-856A-478D-AEEF-972A9332C426}"/>
          </ac:spMkLst>
        </pc:spChg>
      </pc:sldChg>
      <pc:sldChg chg="del">
        <pc:chgData name="Thomas Stensitzki" userId="75cafe6b-2f2a-469b-85c4-eec3b9c972ba" providerId="ADAL" clId="{CC71C08A-2804-4913-A0A2-16E51D3DDB9C}" dt="2021-02-08T13:02:19.304" v="21" actId="47"/>
        <pc:sldMkLst>
          <pc:docMk/>
          <pc:sldMk cId="2936337643" sldId="284"/>
        </pc:sldMkLst>
      </pc:sldChg>
      <pc:sldChg chg="del">
        <pc:chgData name="Thomas Stensitzki" userId="75cafe6b-2f2a-469b-85c4-eec3b9c972ba" providerId="ADAL" clId="{CC71C08A-2804-4913-A0A2-16E51D3DDB9C}" dt="2021-02-08T13:02:19.304" v="21" actId="47"/>
        <pc:sldMkLst>
          <pc:docMk/>
          <pc:sldMk cId="1410004524" sldId="285"/>
        </pc:sldMkLst>
      </pc:sldChg>
      <pc:sldChg chg="del">
        <pc:chgData name="Thomas Stensitzki" userId="75cafe6b-2f2a-469b-85c4-eec3b9c972ba" providerId="ADAL" clId="{CC71C08A-2804-4913-A0A2-16E51D3DDB9C}" dt="2021-02-08T13:02:19.304" v="21" actId="47"/>
        <pc:sldMkLst>
          <pc:docMk/>
          <pc:sldMk cId="3034575554" sldId="286"/>
        </pc:sldMkLst>
      </pc:sldChg>
    </pc:docChg>
  </pc:docChgLst>
  <pc:docChgLst>
    <pc:chgData name="Thomas Stensitzki" userId="75cafe6b-2f2a-469b-85c4-eec3b9c972ba" providerId="ADAL" clId="{3B96DF59-98DA-324F-9DBE-23A672CA6951}"/>
    <pc:docChg chg="custSel modSld">
      <pc:chgData name="Thomas Stensitzki" userId="75cafe6b-2f2a-469b-85c4-eec3b9c972ba" providerId="ADAL" clId="{3B96DF59-98DA-324F-9DBE-23A672CA6951}" dt="2022-05-29T20:35:50.348" v="192" actId="20577"/>
      <pc:docMkLst>
        <pc:docMk/>
      </pc:docMkLst>
      <pc:sldChg chg="modSp">
        <pc:chgData name="Thomas Stensitzki" userId="75cafe6b-2f2a-469b-85c4-eec3b9c972ba" providerId="ADAL" clId="{3B96DF59-98DA-324F-9DBE-23A672CA6951}" dt="2022-05-29T20:35:15.896" v="133" actId="20577"/>
        <pc:sldMkLst>
          <pc:docMk/>
          <pc:sldMk cId="1331178014" sldId="256"/>
        </pc:sldMkLst>
        <pc:spChg chg="mod">
          <ac:chgData name="Thomas Stensitzki" userId="75cafe6b-2f2a-469b-85c4-eec3b9c972ba" providerId="ADAL" clId="{3B96DF59-98DA-324F-9DBE-23A672CA6951}" dt="2022-05-29T20:35:15.896" v="133" actId="20577"/>
          <ac:spMkLst>
            <pc:docMk/>
            <pc:sldMk cId="1331178014" sldId="256"/>
            <ac:spMk id="2" creationId="{E137B2CB-D047-404D-B8CC-C662AA78F69E}"/>
          </ac:spMkLst>
        </pc:spChg>
        <pc:spChg chg="mod">
          <ac:chgData name="Thomas Stensitzki" userId="75cafe6b-2f2a-469b-85c4-eec3b9c972ba" providerId="ADAL" clId="{3B96DF59-98DA-324F-9DBE-23A672CA6951}" dt="2022-05-29T20:34:02.175" v="1" actId="20577"/>
          <ac:spMkLst>
            <pc:docMk/>
            <pc:sldMk cId="1331178014" sldId="256"/>
            <ac:spMk id="3" creationId="{FD1EE5AE-531F-46B2-BC77-BEC77D90CE70}"/>
          </ac:spMkLst>
        </pc:spChg>
      </pc:sldChg>
      <pc:sldChg chg="modSp">
        <pc:chgData name="Thomas Stensitzki" userId="75cafe6b-2f2a-469b-85c4-eec3b9c972ba" providerId="ADAL" clId="{3B96DF59-98DA-324F-9DBE-23A672CA6951}" dt="2022-05-29T20:35:50.348" v="192" actId="20577"/>
        <pc:sldMkLst>
          <pc:docMk/>
          <pc:sldMk cId="1916615734" sldId="274"/>
        </pc:sldMkLst>
        <pc:spChg chg="mod">
          <ac:chgData name="Thomas Stensitzki" userId="75cafe6b-2f2a-469b-85c4-eec3b9c972ba" providerId="ADAL" clId="{3B96DF59-98DA-324F-9DBE-23A672CA6951}" dt="2022-05-29T20:35:42.500" v="176" actId="20577"/>
          <ac:spMkLst>
            <pc:docMk/>
            <pc:sldMk cId="1916615734" sldId="274"/>
            <ac:spMk id="4" creationId="{70E8EAA7-76C4-4D2B-81CE-57CA4627D39E}"/>
          </ac:spMkLst>
        </pc:spChg>
        <pc:spChg chg="mod">
          <ac:chgData name="Thomas Stensitzki" userId="75cafe6b-2f2a-469b-85c4-eec3b9c972ba" providerId="ADAL" clId="{3B96DF59-98DA-324F-9DBE-23A672CA6951}" dt="2022-05-29T20:35:50.348" v="192" actId="20577"/>
          <ac:spMkLst>
            <pc:docMk/>
            <pc:sldMk cId="1916615734" sldId="274"/>
            <ac:spMk id="5" creationId="{94140262-613E-47E0-8110-F2C2EDE2EFD9}"/>
          </ac:spMkLst>
        </pc:spChg>
      </pc:sldChg>
    </pc:docChg>
  </pc:docChgLst>
  <pc:docChgLst>
    <pc:chgData name="Thomas Stensitzki" userId="75cafe6b-2f2a-469b-85c4-eec3b9c972ba" providerId="ADAL" clId="{5027C416-FBBB-4D1B-82D8-27E2AA1D32DF}"/>
    <pc:docChg chg="undo custSel addSld delSld modSld sldOrd modSection">
      <pc:chgData name="Thomas Stensitzki" userId="75cafe6b-2f2a-469b-85c4-eec3b9c972ba" providerId="ADAL" clId="{5027C416-FBBB-4D1B-82D8-27E2AA1D32DF}" dt="2021-05-24T09:26:40.051" v="3172" actId="20577"/>
      <pc:docMkLst>
        <pc:docMk/>
      </pc:docMkLst>
      <pc:sldChg chg="modSp mod modNotes">
        <pc:chgData name="Thomas Stensitzki" userId="75cafe6b-2f2a-469b-85c4-eec3b9c972ba" providerId="ADAL" clId="{5027C416-FBBB-4D1B-82D8-27E2AA1D32DF}" dt="2021-05-23T15:41:26.001" v="1834" actId="790"/>
        <pc:sldMkLst>
          <pc:docMk/>
          <pc:sldMk cId="1331178014" sldId="256"/>
        </pc:sldMkLst>
        <pc:spChg chg="mod">
          <ac:chgData name="Thomas Stensitzki" userId="75cafe6b-2f2a-469b-85c4-eec3b9c972ba" providerId="ADAL" clId="{5027C416-FBBB-4D1B-82D8-27E2AA1D32DF}" dt="2021-05-23T15:41:25.989" v="1831" actId="790"/>
          <ac:spMkLst>
            <pc:docMk/>
            <pc:sldMk cId="1331178014" sldId="256"/>
            <ac:spMk id="2" creationId="{E137B2CB-D047-404D-B8CC-C662AA78F69E}"/>
          </ac:spMkLst>
        </pc:spChg>
        <pc:spChg chg="mod">
          <ac:chgData name="Thomas Stensitzki" userId="75cafe6b-2f2a-469b-85c4-eec3b9c972ba" providerId="ADAL" clId="{5027C416-FBBB-4D1B-82D8-27E2AA1D32DF}" dt="2021-05-23T15:41:25.996" v="1832" actId="790"/>
          <ac:spMkLst>
            <pc:docMk/>
            <pc:sldMk cId="1331178014" sldId="256"/>
            <ac:spMk id="3" creationId="{FD1EE5AE-531F-46B2-BC77-BEC77D90CE70}"/>
          </ac:spMkLst>
        </pc:spChg>
      </pc:sldChg>
      <pc:sldChg chg="modSp mod modNotes">
        <pc:chgData name="Thomas Stensitzki" userId="75cafe6b-2f2a-469b-85c4-eec3b9c972ba" providerId="ADAL" clId="{5027C416-FBBB-4D1B-82D8-27E2AA1D32DF}" dt="2021-05-23T15:41:26.095" v="1879" actId="790"/>
        <pc:sldMkLst>
          <pc:docMk/>
          <pc:sldMk cId="2213403937" sldId="259"/>
        </pc:sldMkLst>
        <pc:spChg chg="mod">
          <ac:chgData name="Thomas Stensitzki" userId="75cafe6b-2f2a-469b-85c4-eec3b9c972ba" providerId="ADAL" clId="{5027C416-FBBB-4D1B-82D8-27E2AA1D32DF}" dt="2021-05-23T15:41:26.090" v="1876" actId="790"/>
          <ac:spMkLst>
            <pc:docMk/>
            <pc:sldMk cId="2213403937" sldId="259"/>
            <ac:spMk id="2" creationId="{7BD96291-CA89-40CC-8106-2F22625FFBC2}"/>
          </ac:spMkLst>
        </pc:spChg>
        <pc:spChg chg="mod">
          <ac:chgData name="Thomas Stensitzki" userId="75cafe6b-2f2a-469b-85c4-eec3b9c972ba" providerId="ADAL" clId="{5027C416-FBBB-4D1B-82D8-27E2AA1D32DF}" dt="2021-05-23T15:41:26.091" v="1877" actId="790"/>
          <ac:spMkLst>
            <pc:docMk/>
            <pc:sldMk cId="2213403937" sldId="259"/>
            <ac:spMk id="3" creationId="{929F043B-C787-47A9-8373-4D8587EE4FEA}"/>
          </ac:spMkLst>
        </pc:spChg>
        <pc:spChg chg="mod">
          <ac:chgData name="Thomas Stensitzki" userId="75cafe6b-2f2a-469b-85c4-eec3b9c972ba" providerId="ADAL" clId="{5027C416-FBBB-4D1B-82D8-27E2AA1D32DF}" dt="2021-05-23T15:41:26.089" v="1875" actId="790"/>
          <ac:spMkLst>
            <pc:docMk/>
            <pc:sldMk cId="2213403937" sldId="259"/>
            <ac:spMk id="4" creationId="{1D2D1BF2-DBEA-44D1-B318-6E31D982F99B}"/>
          </ac:spMkLst>
        </pc:spChg>
      </pc:sldChg>
      <pc:sldChg chg="modSp mod modNotes">
        <pc:chgData name="Thomas Stensitzki" userId="75cafe6b-2f2a-469b-85c4-eec3b9c972ba" providerId="ADAL" clId="{5027C416-FBBB-4D1B-82D8-27E2AA1D32DF}" dt="2021-05-23T15:41:26.008" v="1838" actId="790"/>
        <pc:sldMkLst>
          <pc:docMk/>
          <pc:sldMk cId="1916615734" sldId="274"/>
        </pc:sldMkLst>
        <pc:spChg chg="mod">
          <ac:chgData name="Thomas Stensitzki" userId="75cafe6b-2f2a-469b-85c4-eec3b9c972ba" providerId="ADAL" clId="{5027C416-FBBB-4D1B-82D8-27E2AA1D32DF}" dt="2021-05-23T15:41:26.003" v="1835" actId="790"/>
          <ac:spMkLst>
            <pc:docMk/>
            <pc:sldMk cId="1916615734" sldId="274"/>
            <ac:spMk id="4" creationId="{70E8EAA7-76C4-4D2B-81CE-57CA4627D39E}"/>
          </ac:spMkLst>
        </pc:spChg>
        <pc:spChg chg="mod">
          <ac:chgData name="Thomas Stensitzki" userId="75cafe6b-2f2a-469b-85c4-eec3b9c972ba" providerId="ADAL" clId="{5027C416-FBBB-4D1B-82D8-27E2AA1D32DF}" dt="2021-05-23T15:41:26.004" v="1836" actId="790"/>
          <ac:spMkLst>
            <pc:docMk/>
            <pc:sldMk cId="1916615734" sldId="274"/>
            <ac:spMk id="5" creationId="{94140262-613E-47E0-8110-F2C2EDE2EFD9}"/>
          </ac:spMkLst>
        </pc:spChg>
      </pc:sldChg>
      <pc:sldChg chg="addSp modSp mod modAnim modNotes">
        <pc:chgData name="Thomas Stensitzki" userId="75cafe6b-2f2a-469b-85c4-eec3b9c972ba" providerId="ADAL" clId="{5027C416-FBBB-4D1B-82D8-27E2AA1D32DF}" dt="2021-05-24T09:24:52.607" v="3159"/>
        <pc:sldMkLst>
          <pc:docMk/>
          <pc:sldMk cId="3800306062" sldId="275"/>
        </pc:sldMkLst>
        <pc:spChg chg="add mod">
          <ac:chgData name="Thomas Stensitzki" userId="75cafe6b-2f2a-469b-85c4-eec3b9c972ba" providerId="ADAL" clId="{5027C416-FBBB-4D1B-82D8-27E2AA1D32DF}" dt="2021-05-23T15:41:26.037" v="1845" actId="790"/>
          <ac:spMkLst>
            <pc:docMk/>
            <pc:sldMk cId="3800306062" sldId="275"/>
            <ac:spMk id="2" creationId="{5ED8FA4C-DDE5-4931-9210-E6A3A8B7FC26}"/>
          </ac:spMkLst>
        </pc:spChg>
        <pc:spChg chg="mod">
          <ac:chgData name="Thomas Stensitzki" userId="75cafe6b-2f2a-469b-85c4-eec3b9c972ba" providerId="ADAL" clId="{5027C416-FBBB-4D1B-82D8-27E2AA1D32DF}" dt="2021-05-23T15:41:26.024" v="1843" actId="790"/>
          <ac:spMkLst>
            <pc:docMk/>
            <pc:sldMk cId="3800306062" sldId="275"/>
            <ac:spMk id="4" creationId="{1B8964DA-2335-416F-BBBE-29EA00AE6E94}"/>
          </ac:spMkLst>
        </pc:spChg>
        <pc:spChg chg="mod">
          <ac:chgData name="Thomas Stensitzki" userId="75cafe6b-2f2a-469b-85c4-eec3b9c972ba" providerId="ADAL" clId="{5027C416-FBBB-4D1B-82D8-27E2AA1D32DF}" dt="2021-05-24T09:24:41.126" v="3153" actId="6549"/>
          <ac:spMkLst>
            <pc:docMk/>
            <pc:sldMk cId="3800306062" sldId="275"/>
            <ac:spMk id="5" creationId="{DCF7A5B9-E28B-42E4-9DC3-95FA062D9B40}"/>
          </ac:spMkLst>
        </pc:spChg>
      </pc:sldChg>
      <pc:sldChg chg="del">
        <pc:chgData name="Thomas Stensitzki" userId="75cafe6b-2f2a-469b-85c4-eec3b9c972ba" providerId="ADAL" clId="{5027C416-FBBB-4D1B-82D8-27E2AA1D32DF}" dt="2021-05-23T15:17:02.118" v="59" actId="47"/>
        <pc:sldMkLst>
          <pc:docMk/>
          <pc:sldMk cId="3610249691" sldId="276"/>
        </pc:sldMkLst>
      </pc:sldChg>
      <pc:sldChg chg="del">
        <pc:chgData name="Thomas Stensitzki" userId="75cafe6b-2f2a-469b-85c4-eec3b9c972ba" providerId="ADAL" clId="{5027C416-FBBB-4D1B-82D8-27E2AA1D32DF}" dt="2021-05-23T15:17:02.118" v="59" actId="47"/>
        <pc:sldMkLst>
          <pc:docMk/>
          <pc:sldMk cId="519679539" sldId="277"/>
        </pc:sldMkLst>
      </pc:sldChg>
      <pc:sldChg chg="del">
        <pc:chgData name="Thomas Stensitzki" userId="75cafe6b-2f2a-469b-85c4-eec3b9c972ba" providerId="ADAL" clId="{5027C416-FBBB-4D1B-82D8-27E2AA1D32DF}" dt="2021-05-23T15:17:02.118" v="59" actId="47"/>
        <pc:sldMkLst>
          <pc:docMk/>
          <pc:sldMk cId="187086544" sldId="278"/>
        </pc:sldMkLst>
      </pc:sldChg>
      <pc:sldChg chg="del">
        <pc:chgData name="Thomas Stensitzki" userId="75cafe6b-2f2a-469b-85c4-eec3b9c972ba" providerId="ADAL" clId="{5027C416-FBBB-4D1B-82D8-27E2AA1D32DF}" dt="2021-05-23T15:17:02.118" v="59" actId="47"/>
        <pc:sldMkLst>
          <pc:docMk/>
          <pc:sldMk cId="3258532207" sldId="279"/>
        </pc:sldMkLst>
      </pc:sldChg>
      <pc:sldChg chg="modSp mod modAnim modNotes">
        <pc:chgData name="Thomas Stensitzki" userId="75cafe6b-2f2a-469b-85c4-eec3b9c972ba" providerId="ADAL" clId="{5027C416-FBBB-4D1B-82D8-27E2AA1D32DF}" dt="2021-05-24T09:26:40.051" v="3172" actId="20577"/>
        <pc:sldMkLst>
          <pc:docMk/>
          <pc:sldMk cId="2469256109" sldId="280"/>
        </pc:sldMkLst>
        <pc:spChg chg="mod">
          <ac:chgData name="Thomas Stensitzki" userId="75cafe6b-2f2a-469b-85c4-eec3b9c972ba" providerId="ADAL" clId="{5027C416-FBBB-4D1B-82D8-27E2AA1D32DF}" dt="2021-05-23T15:43:59.629" v="1919" actId="20577"/>
          <ac:spMkLst>
            <pc:docMk/>
            <pc:sldMk cId="2469256109" sldId="280"/>
            <ac:spMk id="2" creationId="{EE280C37-2F1B-4E52-A77D-9E35A54D9B59}"/>
          </ac:spMkLst>
        </pc:spChg>
        <pc:spChg chg="mod">
          <ac:chgData name="Thomas Stensitzki" userId="75cafe6b-2f2a-469b-85c4-eec3b9c972ba" providerId="ADAL" clId="{5027C416-FBBB-4D1B-82D8-27E2AA1D32DF}" dt="2021-05-24T09:26:40.051" v="3172" actId="20577"/>
          <ac:spMkLst>
            <pc:docMk/>
            <pc:sldMk cId="2469256109" sldId="280"/>
            <ac:spMk id="3" creationId="{8A39B34D-856A-478D-AEEF-972A9332C426}"/>
          </ac:spMkLst>
        </pc:spChg>
      </pc:sldChg>
      <pc:sldChg chg="del">
        <pc:chgData name="Thomas Stensitzki" userId="75cafe6b-2f2a-469b-85c4-eec3b9c972ba" providerId="ADAL" clId="{5027C416-FBBB-4D1B-82D8-27E2AA1D32DF}" dt="2021-05-23T15:37:08.853" v="1721" actId="47"/>
        <pc:sldMkLst>
          <pc:docMk/>
          <pc:sldMk cId="3997588830" sldId="281"/>
        </pc:sldMkLst>
      </pc:sldChg>
      <pc:sldChg chg="del">
        <pc:chgData name="Thomas Stensitzki" userId="75cafe6b-2f2a-469b-85c4-eec3b9c972ba" providerId="ADAL" clId="{5027C416-FBBB-4D1B-82D8-27E2AA1D32DF}" dt="2021-05-23T15:17:02.118" v="59" actId="47"/>
        <pc:sldMkLst>
          <pc:docMk/>
          <pc:sldMk cId="2784494592" sldId="282"/>
        </pc:sldMkLst>
      </pc:sldChg>
      <pc:sldChg chg="del">
        <pc:chgData name="Thomas Stensitzki" userId="75cafe6b-2f2a-469b-85c4-eec3b9c972ba" providerId="ADAL" clId="{5027C416-FBBB-4D1B-82D8-27E2AA1D32DF}" dt="2021-05-23T15:37:06.772" v="1720" actId="47"/>
        <pc:sldMkLst>
          <pc:docMk/>
          <pc:sldMk cId="2671394678" sldId="283"/>
        </pc:sldMkLst>
      </pc:sldChg>
      <pc:sldChg chg="del">
        <pc:chgData name="Thomas Stensitzki" userId="75cafe6b-2f2a-469b-85c4-eec3b9c972ba" providerId="ADAL" clId="{5027C416-FBBB-4D1B-82D8-27E2AA1D32DF}" dt="2021-05-23T15:17:02.118" v="59" actId="47"/>
        <pc:sldMkLst>
          <pc:docMk/>
          <pc:sldMk cId="259590582" sldId="284"/>
        </pc:sldMkLst>
      </pc:sldChg>
      <pc:sldChg chg="addSp delSp modSp new mod ord modClrScheme chgLayout modNotes">
        <pc:chgData name="Thomas Stensitzki" userId="75cafe6b-2f2a-469b-85c4-eec3b9c972ba" providerId="ADAL" clId="{5027C416-FBBB-4D1B-82D8-27E2AA1D32DF}" dt="2021-05-23T15:41:36.001" v="1884"/>
        <pc:sldMkLst>
          <pc:docMk/>
          <pc:sldMk cId="1179876429" sldId="284"/>
        </pc:sldMkLst>
        <pc:spChg chg="del mod ord">
          <ac:chgData name="Thomas Stensitzki" userId="75cafe6b-2f2a-469b-85c4-eec3b9c972ba" providerId="ADAL" clId="{5027C416-FBBB-4D1B-82D8-27E2AA1D32DF}" dt="2021-05-23T15:17:15.056" v="61" actId="700"/>
          <ac:spMkLst>
            <pc:docMk/>
            <pc:sldMk cId="1179876429" sldId="284"/>
            <ac:spMk id="2" creationId="{831B93E1-BA40-4910-BAB1-CED90009444E}"/>
          </ac:spMkLst>
        </pc:spChg>
        <pc:spChg chg="del mod ord">
          <ac:chgData name="Thomas Stensitzki" userId="75cafe6b-2f2a-469b-85c4-eec3b9c972ba" providerId="ADAL" clId="{5027C416-FBBB-4D1B-82D8-27E2AA1D32DF}" dt="2021-05-23T15:17:15.056" v="61" actId="700"/>
          <ac:spMkLst>
            <pc:docMk/>
            <pc:sldMk cId="1179876429" sldId="284"/>
            <ac:spMk id="3" creationId="{E315F914-6818-4753-A808-911EE2013A5C}"/>
          </ac:spMkLst>
        </pc:spChg>
        <pc:spChg chg="add mod ord">
          <ac:chgData name="Thomas Stensitzki" userId="75cafe6b-2f2a-469b-85c4-eec3b9c972ba" providerId="ADAL" clId="{5027C416-FBBB-4D1B-82D8-27E2AA1D32DF}" dt="2021-05-23T15:41:26.097" v="1880" actId="790"/>
          <ac:spMkLst>
            <pc:docMk/>
            <pc:sldMk cId="1179876429" sldId="284"/>
            <ac:spMk id="4" creationId="{2F0A2EB4-DEFB-4089-9354-A97BECD5CA69}"/>
          </ac:spMkLst>
        </pc:spChg>
        <pc:spChg chg="add mod ord">
          <ac:chgData name="Thomas Stensitzki" userId="75cafe6b-2f2a-469b-85c4-eec3b9c972ba" providerId="ADAL" clId="{5027C416-FBBB-4D1B-82D8-27E2AA1D32DF}" dt="2021-05-23T15:41:36.001" v="1884"/>
          <ac:spMkLst>
            <pc:docMk/>
            <pc:sldMk cId="1179876429" sldId="284"/>
            <ac:spMk id="5" creationId="{2C7B6130-37E3-4B24-9849-0A8346D42A5F}"/>
          </ac:spMkLst>
        </pc:spChg>
      </pc:sldChg>
      <pc:sldChg chg="modSp add mod ord modAnim modNotes">
        <pc:chgData name="Thomas Stensitzki" userId="75cafe6b-2f2a-469b-85c4-eec3b9c972ba" providerId="ADAL" clId="{5027C416-FBBB-4D1B-82D8-27E2AA1D32DF}" dt="2021-05-24T09:23:44.100" v="3118" actId="20577"/>
        <pc:sldMkLst>
          <pc:docMk/>
          <pc:sldMk cId="3443800143" sldId="285"/>
        </pc:sldMkLst>
        <pc:spChg chg="mod">
          <ac:chgData name="Thomas Stensitzki" userId="75cafe6b-2f2a-469b-85c4-eec3b9c972ba" providerId="ADAL" clId="{5027C416-FBBB-4D1B-82D8-27E2AA1D32DF}" dt="2021-05-23T15:41:26.010" v="1839" actId="790"/>
          <ac:spMkLst>
            <pc:docMk/>
            <pc:sldMk cId="3443800143" sldId="285"/>
            <ac:spMk id="4" creationId="{1B8964DA-2335-416F-BBBE-29EA00AE6E94}"/>
          </ac:spMkLst>
        </pc:spChg>
        <pc:spChg chg="mod">
          <ac:chgData name="Thomas Stensitzki" userId="75cafe6b-2f2a-469b-85c4-eec3b9c972ba" providerId="ADAL" clId="{5027C416-FBBB-4D1B-82D8-27E2AA1D32DF}" dt="2021-05-24T09:23:44.100" v="3118" actId="20577"/>
          <ac:spMkLst>
            <pc:docMk/>
            <pc:sldMk cId="3443800143" sldId="285"/>
            <ac:spMk id="5" creationId="{DCF7A5B9-E28B-42E4-9DC3-95FA062D9B40}"/>
          </ac:spMkLst>
        </pc:spChg>
      </pc:sldChg>
      <pc:sldChg chg="new del">
        <pc:chgData name="Thomas Stensitzki" userId="75cafe6b-2f2a-469b-85c4-eec3b9c972ba" providerId="ADAL" clId="{5027C416-FBBB-4D1B-82D8-27E2AA1D32DF}" dt="2021-05-23T15:37:35.803" v="1723" actId="680"/>
        <pc:sldMkLst>
          <pc:docMk/>
          <pc:sldMk cId="2078544913" sldId="286"/>
        </pc:sldMkLst>
      </pc:sldChg>
      <pc:sldChg chg="addSp delSp modSp add mod delAnim modAnim modNotes">
        <pc:chgData name="Thomas Stensitzki" userId="75cafe6b-2f2a-469b-85c4-eec3b9c972ba" providerId="ADAL" clId="{5027C416-FBBB-4D1B-82D8-27E2AA1D32DF}" dt="2021-05-23T16:06:44.962" v="2333" actId="1076"/>
        <pc:sldMkLst>
          <pc:docMk/>
          <pc:sldMk cId="2936337643" sldId="286"/>
        </pc:sldMkLst>
        <pc:spChg chg="mod">
          <ac:chgData name="Thomas Stensitzki" userId="75cafe6b-2f2a-469b-85c4-eec3b9c972ba" providerId="ADAL" clId="{5027C416-FBBB-4D1B-82D8-27E2AA1D32DF}" dt="2021-05-23T15:41:26.043" v="1848" actId="790"/>
          <ac:spMkLst>
            <pc:docMk/>
            <pc:sldMk cId="2936337643" sldId="286"/>
            <ac:spMk id="7" creationId="{DECEB6B6-B5D5-4B5B-BBF3-49FAE1F90F1F}"/>
          </ac:spMkLst>
        </pc:spChg>
        <pc:spChg chg="mod">
          <ac:chgData name="Thomas Stensitzki" userId="75cafe6b-2f2a-469b-85c4-eec3b9c972ba" providerId="ADAL" clId="{5027C416-FBBB-4D1B-82D8-27E2AA1D32DF}" dt="2021-05-23T15:41:26.048" v="1849" actId="790"/>
          <ac:spMkLst>
            <pc:docMk/>
            <pc:sldMk cId="2936337643" sldId="286"/>
            <ac:spMk id="18" creationId="{A9A15BC5-F2A4-490E-A946-6D0DBA989075}"/>
          </ac:spMkLst>
        </pc:spChg>
        <pc:spChg chg="mod">
          <ac:chgData name="Thomas Stensitzki" userId="75cafe6b-2f2a-469b-85c4-eec3b9c972ba" providerId="ADAL" clId="{5027C416-FBBB-4D1B-82D8-27E2AA1D32DF}" dt="2021-05-23T15:41:26.050" v="1850" actId="790"/>
          <ac:spMkLst>
            <pc:docMk/>
            <pc:sldMk cId="2936337643" sldId="286"/>
            <ac:spMk id="20" creationId="{96E7A09D-2886-46E4-B0CC-967A5041731B}"/>
          </ac:spMkLst>
        </pc:spChg>
        <pc:spChg chg="mod">
          <ac:chgData name="Thomas Stensitzki" userId="75cafe6b-2f2a-469b-85c4-eec3b9c972ba" providerId="ADAL" clId="{5027C416-FBBB-4D1B-82D8-27E2AA1D32DF}" dt="2021-05-23T15:41:26.051" v="1851" actId="790"/>
          <ac:spMkLst>
            <pc:docMk/>
            <pc:sldMk cId="2936337643" sldId="286"/>
            <ac:spMk id="22" creationId="{5A44795D-9D5F-463A-A0FA-2062C83F8893}"/>
          </ac:spMkLst>
        </pc:spChg>
        <pc:spChg chg="mod">
          <ac:chgData name="Thomas Stensitzki" userId="75cafe6b-2f2a-469b-85c4-eec3b9c972ba" providerId="ADAL" clId="{5027C416-FBBB-4D1B-82D8-27E2AA1D32DF}" dt="2021-05-23T15:41:26.052" v="1852" actId="790"/>
          <ac:spMkLst>
            <pc:docMk/>
            <pc:sldMk cId="2936337643" sldId="286"/>
            <ac:spMk id="24" creationId="{43288F2D-4BCE-44DC-A6C7-DBE04EC46600}"/>
          </ac:spMkLst>
        </pc:spChg>
        <pc:spChg chg="mod">
          <ac:chgData name="Thomas Stensitzki" userId="75cafe6b-2f2a-469b-85c4-eec3b9c972ba" providerId="ADAL" clId="{5027C416-FBBB-4D1B-82D8-27E2AA1D32DF}" dt="2021-05-23T15:41:26.053" v="1853" actId="790"/>
          <ac:spMkLst>
            <pc:docMk/>
            <pc:sldMk cId="2936337643" sldId="286"/>
            <ac:spMk id="26" creationId="{FB2A01E1-154F-404E-B124-25335183DDEB}"/>
          </ac:spMkLst>
        </pc:spChg>
        <pc:spChg chg="mod">
          <ac:chgData name="Thomas Stensitzki" userId="75cafe6b-2f2a-469b-85c4-eec3b9c972ba" providerId="ADAL" clId="{5027C416-FBBB-4D1B-82D8-27E2AA1D32DF}" dt="2021-05-23T15:41:26.054" v="1854" actId="790"/>
          <ac:spMkLst>
            <pc:docMk/>
            <pc:sldMk cId="2936337643" sldId="286"/>
            <ac:spMk id="28" creationId="{B5A72DD4-42E3-419C-802F-9EA566F84DD8}"/>
          </ac:spMkLst>
        </pc:spChg>
        <pc:spChg chg="mod">
          <ac:chgData name="Thomas Stensitzki" userId="75cafe6b-2f2a-469b-85c4-eec3b9c972ba" providerId="ADAL" clId="{5027C416-FBBB-4D1B-82D8-27E2AA1D32DF}" dt="2021-05-23T15:41:26.073" v="1866" actId="790"/>
          <ac:spMkLst>
            <pc:docMk/>
            <pc:sldMk cId="2936337643" sldId="286"/>
            <ac:spMk id="29" creationId="{7364B57E-425A-4752-9F37-D5268F998728}"/>
          </ac:spMkLst>
        </pc:spChg>
        <pc:spChg chg="mod">
          <ac:chgData name="Thomas Stensitzki" userId="75cafe6b-2f2a-469b-85c4-eec3b9c972ba" providerId="ADAL" clId="{5027C416-FBBB-4D1B-82D8-27E2AA1D32DF}" dt="2021-05-23T15:41:26.074" v="1867" actId="790"/>
          <ac:spMkLst>
            <pc:docMk/>
            <pc:sldMk cId="2936337643" sldId="286"/>
            <ac:spMk id="31" creationId="{CDC88C02-815E-4693-9181-71468CB10D9E}"/>
          </ac:spMkLst>
        </pc:spChg>
        <pc:spChg chg="add mod">
          <ac:chgData name="Thomas Stensitzki" userId="75cafe6b-2f2a-469b-85c4-eec3b9c972ba" providerId="ADAL" clId="{5027C416-FBBB-4D1B-82D8-27E2AA1D32DF}" dt="2021-05-23T15:51:56.261" v="2275" actId="164"/>
          <ac:spMkLst>
            <pc:docMk/>
            <pc:sldMk cId="2936337643" sldId="286"/>
            <ac:spMk id="37" creationId="{CC0EB850-E53D-4AD3-B471-8F41BCF0CC53}"/>
          </ac:spMkLst>
        </pc:spChg>
        <pc:spChg chg="add del">
          <ac:chgData name="Thomas Stensitzki" userId="75cafe6b-2f2a-469b-85c4-eec3b9c972ba" providerId="ADAL" clId="{5027C416-FBBB-4D1B-82D8-27E2AA1D32DF}" dt="2021-05-23T15:50:51.787" v="2270" actId="11529"/>
          <ac:spMkLst>
            <pc:docMk/>
            <pc:sldMk cId="2936337643" sldId="286"/>
            <ac:spMk id="39" creationId="{E539AF24-3F4F-4550-B968-7D7CDCB632F2}"/>
          </ac:spMkLst>
        </pc:spChg>
        <pc:spChg chg="mod">
          <ac:chgData name="Thomas Stensitzki" userId="75cafe6b-2f2a-469b-85c4-eec3b9c972ba" providerId="ADAL" clId="{5027C416-FBBB-4D1B-82D8-27E2AA1D32DF}" dt="2021-05-23T16:06:44.962" v="2333" actId="1076"/>
          <ac:spMkLst>
            <pc:docMk/>
            <pc:sldMk cId="2936337643" sldId="286"/>
            <ac:spMk id="41" creationId="{6B923075-406C-4A79-849F-DD56F06C9F4F}"/>
          </ac:spMkLst>
        </pc:spChg>
        <pc:spChg chg="del mod topLvl">
          <ac:chgData name="Thomas Stensitzki" userId="75cafe6b-2f2a-469b-85c4-eec3b9c972ba" providerId="ADAL" clId="{5027C416-FBBB-4D1B-82D8-27E2AA1D32DF}" dt="2021-05-23T15:52:24.534" v="2277" actId="478"/>
          <ac:spMkLst>
            <pc:docMk/>
            <pc:sldMk cId="2936337643" sldId="286"/>
            <ac:spMk id="42" creationId="{44B6468D-4A8E-411C-96A8-D2FA2E55BEBA}"/>
          </ac:spMkLst>
        </pc:spChg>
        <pc:spChg chg="mod">
          <ac:chgData name="Thomas Stensitzki" userId="75cafe6b-2f2a-469b-85c4-eec3b9c972ba" providerId="ADAL" clId="{5027C416-FBBB-4D1B-82D8-27E2AA1D32DF}" dt="2021-05-23T15:42:01.934" v="1885" actId="113"/>
          <ac:spMkLst>
            <pc:docMk/>
            <pc:sldMk cId="2936337643" sldId="286"/>
            <ac:spMk id="44" creationId="{F0F674DF-DE5D-419E-B772-6EDB4A5363C3}"/>
          </ac:spMkLst>
        </pc:spChg>
        <pc:spChg chg="mod">
          <ac:chgData name="Thomas Stensitzki" userId="75cafe6b-2f2a-469b-85c4-eec3b9c972ba" providerId="ADAL" clId="{5027C416-FBBB-4D1B-82D8-27E2AA1D32DF}" dt="2021-05-23T15:42:48.632" v="1893" actId="13926"/>
          <ac:spMkLst>
            <pc:docMk/>
            <pc:sldMk cId="2936337643" sldId="286"/>
            <ac:spMk id="46" creationId="{F7E13619-E558-4423-A069-5F49C90BF884}"/>
          </ac:spMkLst>
        </pc:spChg>
        <pc:spChg chg="mod">
          <ac:chgData name="Thomas Stensitzki" userId="75cafe6b-2f2a-469b-85c4-eec3b9c972ba" providerId="ADAL" clId="{5027C416-FBBB-4D1B-82D8-27E2AA1D32DF}" dt="2021-05-23T15:56:14.579" v="2299" actId="113"/>
          <ac:spMkLst>
            <pc:docMk/>
            <pc:sldMk cId="2936337643" sldId="286"/>
            <ac:spMk id="66" creationId="{00CED85F-7C64-41B5-9989-4B80317B500D}"/>
          </ac:spMkLst>
        </pc:spChg>
        <pc:spChg chg="mod">
          <ac:chgData name="Thomas Stensitzki" userId="75cafe6b-2f2a-469b-85c4-eec3b9c972ba" providerId="ADAL" clId="{5027C416-FBBB-4D1B-82D8-27E2AA1D32DF}" dt="2021-05-23T15:41:26.072" v="1865" actId="790"/>
          <ac:spMkLst>
            <pc:docMk/>
            <pc:sldMk cId="2936337643" sldId="286"/>
            <ac:spMk id="67" creationId="{F8C7E7F0-71D6-405C-A28E-60D857CD654E}"/>
          </ac:spMkLst>
        </pc:spChg>
        <pc:spChg chg="mod">
          <ac:chgData name="Thomas Stensitzki" userId="75cafe6b-2f2a-469b-85c4-eec3b9c972ba" providerId="ADAL" clId="{5027C416-FBBB-4D1B-82D8-27E2AA1D32DF}" dt="2021-05-23T15:41:26.070" v="1864" actId="790"/>
          <ac:spMkLst>
            <pc:docMk/>
            <pc:sldMk cId="2936337643" sldId="286"/>
            <ac:spMk id="69" creationId="{8C344584-B4EC-41FA-8698-754C1641EBA0}"/>
          </ac:spMkLst>
        </pc:spChg>
        <pc:spChg chg="mod">
          <ac:chgData name="Thomas Stensitzki" userId="75cafe6b-2f2a-469b-85c4-eec3b9c972ba" providerId="ADAL" clId="{5027C416-FBBB-4D1B-82D8-27E2AA1D32DF}" dt="2021-05-23T15:41:26.069" v="1863" actId="790"/>
          <ac:spMkLst>
            <pc:docMk/>
            <pc:sldMk cId="2936337643" sldId="286"/>
            <ac:spMk id="71" creationId="{ED48BEA2-A653-442C-A779-1A7D5E97444C}"/>
          </ac:spMkLst>
        </pc:spChg>
        <pc:spChg chg="mod">
          <ac:chgData name="Thomas Stensitzki" userId="75cafe6b-2f2a-469b-85c4-eec3b9c972ba" providerId="ADAL" clId="{5027C416-FBBB-4D1B-82D8-27E2AA1D32DF}" dt="2021-05-23T15:52:44.254" v="2289" actId="20577"/>
          <ac:spMkLst>
            <pc:docMk/>
            <pc:sldMk cId="2936337643" sldId="286"/>
            <ac:spMk id="72" creationId="{E7E67A63-953E-453A-83C7-15E972080F3A}"/>
          </ac:spMkLst>
        </pc:spChg>
        <pc:spChg chg="mod">
          <ac:chgData name="Thomas Stensitzki" userId="75cafe6b-2f2a-469b-85c4-eec3b9c972ba" providerId="ADAL" clId="{5027C416-FBBB-4D1B-82D8-27E2AA1D32DF}" dt="2021-05-23T15:41:26.064" v="1860" actId="790"/>
          <ac:spMkLst>
            <pc:docMk/>
            <pc:sldMk cId="2936337643" sldId="286"/>
            <ac:spMk id="78" creationId="{DED63A95-5717-4FD4-B5E2-DE6537AFDBE1}"/>
          </ac:spMkLst>
        </pc:spChg>
        <pc:spChg chg="mod">
          <ac:chgData name="Thomas Stensitzki" userId="75cafe6b-2f2a-469b-85c4-eec3b9c972ba" providerId="ADAL" clId="{5027C416-FBBB-4D1B-82D8-27E2AA1D32DF}" dt="2021-05-23T15:41:26.066" v="1861" actId="790"/>
          <ac:spMkLst>
            <pc:docMk/>
            <pc:sldMk cId="2936337643" sldId="286"/>
            <ac:spMk id="84" creationId="{825572ED-DEA5-4E5B-A536-BB59D1EBD382}"/>
          </ac:spMkLst>
        </pc:spChg>
        <pc:spChg chg="mod">
          <ac:chgData name="Thomas Stensitzki" userId="75cafe6b-2f2a-469b-85c4-eec3b9c972ba" providerId="ADAL" clId="{5027C416-FBBB-4D1B-82D8-27E2AA1D32DF}" dt="2021-05-23T15:41:26.068" v="1862" actId="790"/>
          <ac:spMkLst>
            <pc:docMk/>
            <pc:sldMk cId="2936337643" sldId="286"/>
            <ac:spMk id="86" creationId="{AF7C3F63-F3D7-4402-8F6C-B650A6DD9560}"/>
          </ac:spMkLst>
        </pc:spChg>
        <pc:grpChg chg="del">
          <ac:chgData name="Thomas Stensitzki" userId="75cafe6b-2f2a-469b-85c4-eec3b9c972ba" providerId="ADAL" clId="{5027C416-FBBB-4D1B-82D8-27E2AA1D32DF}" dt="2021-05-23T15:52:24.534" v="2277" actId="478"/>
          <ac:grpSpMkLst>
            <pc:docMk/>
            <pc:sldMk cId="2936337643" sldId="286"/>
            <ac:grpSpMk id="3" creationId="{21259E35-E2A6-4A68-9373-68D4E5774CB2}"/>
          </ac:grpSpMkLst>
        </pc:grpChg>
        <pc:grpChg chg="add mod">
          <ac:chgData name="Thomas Stensitzki" userId="75cafe6b-2f2a-469b-85c4-eec3b9c972ba" providerId="ADAL" clId="{5027C416-FBBB-4D1B-82D8-27E2AA1D32DF}" dt="2021-05-23T15:51:56.261" v="2275" actId="164"/>
          <ac:grpSpMkLst>
            <pc:docMk/>
            <pc:sldMk cId="2936337643" sldId="286"/>
            <ac:grpSpMk id="43" creationId="{75F9BE4E-D232-493F-A046-D47DA9A6990B}"/>
          </ac:grpSpMkLst>
        </pc:grpChg>
        <pc:picChg chg="add del mod">
          <ac:chgData name="Thomas Stensitzki" userId="75cafe6b-2f2a-469b-85c4-eec3b9c972ba" providerId="ADAL" clId="{5027C416-FBBB-4D1B-82D8-27E2AA1D32DF}" dt="2021-05-23T16:02:12.470" v="2308" actId="478"/>
          <ac:picMkLst>
            <pc:docMk/>
            <pc:sldMk cId="2936337643" sldId="286"/>
            <ac:picMk id="51" creationId="{76086FD3-47C4-468F-9188-DE20B60AC9C8}"/>
          </ac:picMkLst>
        </pc:picChg>
        <pc:picChg chg="add mod">
          <ac:chgData name="Thomas Stensitzki" userId="75cafe6b-2f2a-469b-85c4-eec3b9c972ba" providerId="ADAL" clId="{5027C416-FBBB-4D1B-82D8-27E2AA1D32DF}" dt="2021-05-23T16:04:00.434" v="2314" actId="1076"/>
          <ac:picMkLst>
            <pc:docMk/>
            <pc:sldMk cId="2936337643" sldId="286"/>
            <ac:picMk id="53" creationId="{4AC1AF5F-23CF-414B-A245-3F0B967CDC73}"/>
          </ac:picMkLst>
        </pc:picChg>
        <pc:cxnChg chg="add mod">
          <ac:chgData name="Thomas Stensitzki" userId="75cafe6b-2f2a-469b-85c4-eec3b9c972ba" providerId="ADAL" clId="{5027C416-FBBB-4D1B-82D8-27E2AA1D32DF}" dt="2021-05-23T15:53:53.271" v="2292" actId="14100"/>
          <ac:cxnSpMkLst>
            <pc:docMk/>
            <pc:sldMk cId="2936337643" sldId="286"/>
            <ac:cxnSpMk id="9" creationId="{63787952-8E0E-4FC9-B188-971297D3A066}"/>
          </ac:cxnSpMkLst>
        </pc:cxnChg>
        <pc:cxnChg chg="del topLvl">
          <ac:chgData name="Thomas Stensitzki" userId="75cafe6b-2f2a-469b-85c4-eec3b9c972ba" providerId="ADAL" clId="{5027C416-FBBB-4D1B-82D8-27E2AA1D32DF}" dt="2021-05-23T15:52:27.367" v="2278" actId="478"/>
          <ac:cxnSpMkLst>
            <pc:docMk/>
            <pc:sldMk cId="2936337643" sldId="286"/>
            <ac:cxnSpMk id="30" creationId="{3061C3CB-56C2-4FE3-A5C6-F4ACCDE6D8CD}"/>
          </ac:cxnSpMkLst>
        </pc:cxnChg>
        <pc:cxnChg chg="add mod ord">
          <ac:chgData name="Thomas Stensitzki" userId="75cafe6b-2f2a-469b-85c4-eec3b9c972ba" providerId="ADAL" clId="{5027C416-FBBB-4D1B-82D8-27E2AA1D32DF}" dt="2021-05-23T15:56:04.066" v="2298" actId="167"/>
          <ac:cxnSpMkLst>
            <pc:docMk/>
            <pc:sldMk cId="2936337643" sldId="286"/>
            <ac:cxnSpMk id="68" creationId="{4F83C47E-9149-4FBF-A928-C21D943096FA}"/>
          </ac:cxnSpMkLst>
        </pc:cxnChg>
        <pc:cxnChg chg="mod">
          <ac:chgData name="Thomas Stensitzki" userId="75cafe6b-2f2a-469b-85c4-eec3b9c972ba" providerId="ADAL" clId="{5027C416-FBBB-4D1B-82D8-27E2AA1D32DF}" dt="2021-05-23T16:06:34.140" v="2331" actId="14100"/>
          <ac:cxnSpMkLst>
            <pc:docMk/>
            <pc:sldMk cId="2936337643" sldId="286"/>
            <ac:cxnSpMk id="88" creationId="{4945F103-4D75-4E69-9BA1-F23E51723AD8}"/>
          </ac:cxnSpMkLst>
        </pc:cxnChg>
      </pc:sldChg>
      <pc:sldChg chg="addSp delSp modSp new mod modAnim">
        <pc:chgData name="Thomas Stensitzki" userId="75cafe6b-2f2a-469b-85c4-eec3b9c972ba" providerId="ADAL" clId="{5027C416-FBBB-4D1B-82D8-27E2AA1D32DF}" dt="2021-05-23T16:23:23.829" v="3059" actId="20577"/>
        <pc:sldMkLst>
          <pc:docMk/>
          <pc:sldMk cId="1668825389" sldId="287"/>
        </pc:sldMkLst>
        <pc:spChg chg="mod">
          <ac:chgData name="Thomas Stensitzki" userId="75cafe6b-2f2a-469b-85c4-eec3b9c972ba" providerId="ADAL" clId="{5027C416-FBBB-4D1B-82D8-27E2AA1D32DF}" dt="2021-05-23T16:09:49.504" v="2526" actId="20577"/>
          <ac:spMkLst>
            <pc:docMk/>
            <pc:sldMk cId="1668825389" sldId="287"/>
            <ac:spMk id="2" creationId="{E75054AD-E0AB-4144-A358-D656C7A4CB11}"/>
          </ac:spMkLst>
        </pc:spChg>
        <pc:spChg chg="mod">
          <ac:chgData name="Thomas Stensitzki" userId="75cafe6b-2f2a-469b-85c4-eec3b9c972ba" providerId="ADAL" clId="{5027C416-FBBB-4D1B-82D8-27E2AA1D32DF}" dt="2021-05-23T16:22:22.175" v="3045" actId="14100"/>
          <ac:spMkLst>
            <pc:docMk/>
            <pc:sldMk cId="1668825389" sldId="287"/>
            <ac:spMk id="3" creationId="{312913DE-90FE-4A77-B087-8FB51ABB9D97}"/>
          </ac:spMkLst>
        </pc:spChg>
        <pc:spChg chg="add mod">
          <ac:chgData name="Thomas Stensitzki" userId="75cafe6b-2f2a-469b-85c4-eec3b9c972ba" providerId="ADAL" clId="{5027C416-FBBB-4D1B-82D8-27E2AA1D32DF}" dt="2021-05-23T16:21:56.183" v="3042" actId="20577"/>
          <ac:spMkLst>
            <pc:docMk/>
            <pc:sldMk cId="1668825389" sldId="287"/>
            <ac:spMk id="4" creationId="{9E6E0373-1FCB-4B64-8414-7C312AC3980D}"/>
          </ac:spMkLst>
        </pc:spChg>
        <pc:spChg chg="add mod">
          <ac:chgData name="Thomas Stensitzki" userId="75cafe6b-2f2a-469b-85c4-eec3b9c972ba" providerId="ADAL" clId="{5027C416-FBBB-4D1B-82D8-27E2AA1D32DF}" dt="2021-05-23T16:22:04.293" v="3043" actId="20577"/>
          <ac:spMkLst>
            <pc:docMk/>
            <pc:sldMk cId="1668825389" sldId="287"/>
            <ac:spMk id="5" creationId="{9E74DD90-EFE0-4893-997A-5EECA25B6F64}"/>
          </ac:spMkLst>
        </pc:spChg>
        <pc:spChg chg="add mod">
          <ac:chgData name="Thomas Stensitzki" userId="75cafe6b-2f2a-469b-85c4-eec3b9c972ba" providerId="ADAL" clId="{5027C416-FBBB-4D1B-82D8-27E2AA1D32DF}" dt="2021-05-23T16:19:08.248" v="2985" actId="20577"/>
          <ac:spMkLst>
            <pc:docMk/>
            <pc:sldMk cId="1668825389" sldId="287"/>
            <ac:spMk id="6" creationId="{CC790C39-15F4-47BC-9A34-FBB4B7230373}"/>
          </ac:spMkLst>
        </pc:spChg>
        <pc:spChg chg="add del mod">
          <ac:chgData name="Thomas Stensitzki" userId="75cafe6b-2f2a-469b-85c4-eec3b9c972ba" providerId="ADAL" clId="{5027C416-FBBB-4D1B-82D8-27E2AA1D32DF}" dt="2021-05-23T16:14:58.175" v="2749" actId="478"/>
          <ac:spMkLst>
            <pc:docMk/>
            <pc:sldMk cId="1668825389" sldId="287"/>
            <ac:spMk id="7" creationId="{867310D6-8E67-4B52-9678-4576056592CF}"/>
          </ac:spMkLst>
        </pc:spChg>
        <pc:spChg chg="add mod">
          <ac:chgData name="Thomas Stensitzki" userId="75cafe6b-2f2a-469b-85c4-eec3b9c972ba" providerId="ADAL" clId="{5027C416-FBBB-4D1B-82D8-27E2AA1D32DF}" dt="2021-05-23T16:21:17.104" v="3039" actId="20577"/>
          <ac:spMkLst>
            <pc:docMk/>
            <pc:sldMk cId="1668825389" sldId="287"/>
            <ac:spMk id="8" creationId="{8F0E0401-0F55-42E6-9FDC-A4F19EA516EA}"/>
          </ac:spMkLst>
        </pc:spChg>
        <pc:spChg chg="add mod">
          <ac:chgData name="Thomas Stensitzki" userId="75cafe6b-2f2a-469b-85c4-eec3b9c972ba" providerId="ADAL" clId="{5027C416-FBBB-4D1B-82D8-27E2AA1D32DF}" dt="2021-05-23T16:23:16.410" v="3056" actId="20577"/>
          <ac:spMkLst>
            <pc:docMk/>
            <pc:sldMk cId="1668825389" sldId="287"/>
            <ac:spMk id="9" creationId="{47A99456-F4F1-4FB8-9155-D0502A430D21}"/>
          </ac:spMkLst>
        </pc:spChg>
        <pc:spChg chg="add mod">
          <ac:chgData name="Thomas Stensitzki" userId="75cafe6b-2f2a-469b-85c4-eec3b9c972ba" providerId="ADAL" clId="{5027C416-FBBB-4D1B-82D8-27E2AA1D32DF}" dt="2021-05-23T16:20:40.994" v="3014" actId="20577"/>
          <ac:spMkLst>
            <pc:docMk/>
            <pc:sldMk cId="1668825389" sldId="287"/>
            <ac:spMk id="11" creationId="{DAEEFE81-D370-400B-9E71-1E153F879180}"/>
          </ac:spMkLst>
        </pc:spChg>
        <pc:spChg chg="add mod">
          <ac:chgData name="Thomas Stensitzki" userId="75cafe6b-2f2a-469b-85c4-eec3b9c972ba" providerId="ADAL" clId="{5027C416-FBBB-4D1B-82D8-27E2AA1D32DF}" dt="2021-05-23T16:23:23.829" v="3059" actId="20577"/>
          <ac:spMkLst>
            <pc:docMk/>
            <pc:sldMk cId="1668825389" sldId="287"/>
            <ac:spMk id="12" creationId="{E318B527-5E01-47A5-90A1-FFDED3121B2F}"/>
          </ac:spMkLst>
        </pc:spChg>
      </pc:sldChg>
    </pc:docChg>
  </pc:docChgLst>
  <pc:docChgLst>
    <pc:chgData name="Thomas Stensitzki" userId="75cafe6b-2f2a-469b-85c4-eec3b9c972ba" providerId="ADAL" clId="{D33188BD-B661-448E-8491-B3A27DE4EF53}"/>
    <pc:docChg chg="custSel modSld">
      <pc:chgData name="Thomas Stensitzki" userId="75cafe6b-2f2a-469b-85c4-eec3b9c972ba" providerId="ADAL" clId="{D33188BD-B661-448E-8491-B3A27DE4EF53}" dt="2023-03-22T15:01:33.627" v="28" actId="27636"/>
      <pc:docMkLst>
        <pc:docMk/>
      </pc:docMkLst>
      <pc:sldChg chg="addSp delSp modSp mod">
        <pc:chgData name="Thomas Stensitzki" userId="75cafe6b-2f2a-469b-85c4-eec3b9c972ba" providerId="ADAL" clId="{D33188BD-B661-448E-8491-B3A27DE4EF53}" dt="2023-03-22T15:01:33.496" v="24" actId="27636"/>
        <pc:sldMkLst>
          <pc:docMk/>
          <pc:sldMk cId="1331178014" sldId="256"/>
        </pc:sldMkLst>
        <pc:spChg chg="mod">
          <ac:chgData name="Thomas Stensitzki" userId="75cafe6b-2f2a-469b-85c4-eec3b9c972ba" providerId="ADAL" clId="{D33188BD-B661-448E-8491-B3A27DE4EF53}" dt="2023-03-22T15:01:33.496" v="24" actId="27636"/>
          <ac:spMkLst>
            <pc:docMk/>
            <pc:sldMk cId="1331178014" sldId="256"/>
            <ac:spMk id="2" creationId="{E137B2CB-D047-404D-B8CC-C662AA78F69E}"/>
          </ac:spMkLst>
        </pc:spChg>
        <pc:spChg chg="mod">
          <ac:chgData name="Thomas Stensitzki" userId="75cafe6b-2f2a-469b-85c4-eec3b9c972ba" providerId="ADAL" clId="{D33188BD-B661-448E-8491-B3A27DE4EF53}" dt="2023-03-22T14:50:32.939" v="22" actId="6549"/>
          <ac:spMkLst>
            <pc:docMk/>
            <pc:sldMk cId="1331178014" sldId="256"/>
            <ac:spMk id="3" creationId="{FD1EE5AE-531F-46B2-BC77-BEC77D90CE70}"/>
          </ac:spMkLst>
        </pc:spChg>
        <pc:picChg chg="add del mod">
          <ac:chgData name="Thomas Stensitzki" userId="75cafe6b-2f2a-469b-85c4-eec3b9c972ba" providerId="ADAL" clId="{D33188BD-B661-448E-8491-B3A27DE4EF53}" dt="2023-03-22T12:33:34.106" v="6" actId="478"/>
          <ac:picMkLst>
            <pc:docMk/>
            <pc:sldMk cId="1331178014" sldId="256"/>
            <ac:picMk id="4" creationId="{BE91D0BD-748B-2A2A-E5FE-32C969F4ED2E}"/>
          </ac:picMkLst>
        </pc:picChg>
      </pc:sldChg>
      <pc:sldChg chg="modSp mod">
        <pc:chgData name="Thomas Stensitzki" userId="75cafe6b-2f2a-469b-85c4-eec3b9c972ba" providerId="ADAL" clId="{D33188BD-B661-448E-8491-B3A27DE4EF53}" dt="2023-03-22T15:01:33.511" v="25" actId="27636"/>
        <pc:sldMkLst>
          <pc:docMk/>
          <pc:sldMk cId="2287833289" sldId="291"/>
        </pc:sldMkLst>
        <pc:spChg chg="mod">
          <ac:chgData name="Thomas Stensitzki" userId="75cafe6b-2f2a-469b-85c4-eec3b9c972ba" providerId="ADAL" clId="{D33188BD-B661-448E-8491-B3A27DE4EF53}" dt="2023-03-22T15:01:33.511" v="25" actId="27636"/>
          <ac:spMkLst>
            <pc:docMk/>
            <pc:sldMk cId="2287833289" sldId="291"/>
            <ac:spMk id="3" creationId="{B5C5C15D-21DC-F35E-9699-9F1925A8AFCB}"/>
          </ac:spMkLst>
        </pc:spChg>
      </pc:sldChg>
      <pc:sldChg chg="modSp mod">
        <pc:chgData name="Thomas Stensitzki" userId="75cafe6b-2f2a-469b-85c4-eec3b9c972ba" providerId="ADAL" clId="{D33188BD-B661-448E-8491-B3A27DE4EF53}" dt="2023-03-22T12:55:25.186" v="18" actId="20577"/>
        <pc:sldMkLst>
          <pc:docMk/>
          <pc:sldMk cId="1427182002" sldId="304"/>
        </pc:sldMkLst>
        <pc:spChg chg="mod">
          <ac:chgData name="Thomas Stensitzki" userId="75cafe6b-2f2a-469b-85c4-eec3b9c972ba" providerId="ADAL" clId="{D33188BD-B661-448E-8491-B3A27DE4EF53}" dt="2023-03-22T12:55:25.186" v="18" actId="20577"/>
          <ac:spMkLst>
            <pc:docMk/>
            <pc:sldMk cId="1427182002" sldId="304"/>
            <ac:spMk id="4" creationId="{70E8EAA7-76C4-4D2B-81CE-57CA4627D39E}"/>
          </ac:spMkLst>
        </pc:spChg>
      </pc:sldChg>
      <pc:sldChg chg="modSp mod">
        <pc:chgData name="Thomas Stensitzki" userId="75cafe6b-2f2a-469b-85c4-eec3b9c972ba" providerId="ADAL" clId="{D33188BD-B661-448E-8491-B3A27DE4EF53}" dt="2023-03-22T15:01:33.558" v="26" actId="27636"/>
        <pc:sldMkLst>
          <pc:docMk/>
          <pc:sldMk cId="1466251546" sldId="314"/>
        </pc:sldMkLst>
        <pc:spChg chg="mod">
          <ac:chgData name="Thomas Stensitzki" userId="75cafe6b-2f2a-469b-85c4-eec3b9c972ba" providerId="ADAL" clId="{D33188BD-B661-448E-8491-B3A27DE4EF53}" dt="2023-03-22T15:01:33.558" v="26" actId="27636"/>
          <ac:spMkLst>
            <pc:docMk/>
            <pc:sldMk cId="1466251546" sldId="314"/>
            <ac:spMk id="5" creationId="{6A89AA17-FB31-46D9-6734-7390C3EE9180}"/>
          </ac:spMkLst>
        </pc:spChg>
      </pc:sldChg>
      <pc:sldChg chg="modSp mod">
        <pc:chgData name="Thomas Stensitzki" userId="75cafe6b-2f2a-469b-85c4-eec3b9c972ba" providerId="ADAL" clId="{D33188BD-B661-448E-8491-B3A27DE4EF53}" dt="2023-03-22T15:01:33.612" v="27" actId="27636"/>
        <pc:sldMkLst>
          <pc:docMk/>
          <pc:sldMk cId="1842017290" sldId="327"/>
        </pc:sldMkLst>
        <pc:spChg chg="mod">
          <ac:chgData name="Thomas Stensitzki" userId="75cafe6b-2f2a-469b-85c4-eec3b9c972ba" providerId="ADAL" clId="{D33188BD-B661-448E-8491-B3A27DE4EF53}" dt="2023-03-22T15:01:33.612" v="27" actId="27636"/>
          <ac:spMkLst>
            <pc:docMk/>
            <pc:sldMk cId="1842017290" sldId="327"/>
            <ac:spMk id="3" creationId="{866E535F-CAC5-1E3F-0B7B-DE55A9C742BA}"/>
          </ac:spMkLst>
        </pc:spChg>
      </pc:sldChg>
      <pc:sldChg chg="modSp modAnim">
        <pc:chgData name="Thomas Stensitzki" userId="75cafe6b-2f2a-469b-85c4-eec3b9c972ba" providerId="ADAL" clId="{D33188BD-B661-448E-8491-B3A27DE4EF53}" dt="2023-03-22T15:01:33.424" v="23" actId="15"/>
        <pc:sldMkLst>
          <pc:docMk/>
          <pc:sldMk cId="2982958068" sldId="333"/>
        </pc:sldMkLst>
        <pc:spChg chg="mod">
          <ac:chgData name="Thomas Stensitzki" userId="75cafe6b-2f2a-469b-85c4-eec3b9c972ba" providerId="ADAL" clId="{D33188BD-B661-448E-8491-B3A27DE4EF53}" dt="2023-03-22T15:01:33.424" v="23" actId="15"/>
          <ac:spMkLst>
            <pc:docMk/>
            <pc:sldMk cId="2982958068" sldId="333"/>
            <ac:spMk id="3" creationId="{E5F229CF-3778-BD68-798D-80584F7A6072}"/>
          </ac:spMkLst>
        </pc:spChg>
      </pc:sldChg>
      <pc:sldChg chg="modSp mod">
        <pc:chgData name="Thomas Stensitzki" userId="75cafe6b-2f2a-469b-85c4-eec3b9c972ba" providerId="ADAL" clId="{D33188BD-B661-448E-8491-B3A27DE4EF53}" dt="2023-03-22T15:01:33.627" v="28" actId="27636"/>
        <pc:sldMkLst>
          <pc:docMk/>
          <pc:sldMk cId="413403496" sldId="335"/>
        </pc:sldMkLst>
        <pc:spChg chg="mod">
          <ac:chgData name="Thomas Stensitzki" userId="75cafe6b-2f2a-469b-85c4-eec3b9c972ba" providerId="ADAL" clId="{D33188BD-B661-448E-8491-B3A27DE4EF53}" dt="2023-03-22T15:01:33.627" v="28" actId="27636"/>
          <ac:spMkLst>
            <pc:docMk/>
            <pc:sldMk cId="413403496" sldId="335"/>
            <ac:spMk id="3" creationId="{866E535F-CAC5-1E3F-0B7B-DE55A9C742BA}"/>
          </ac:spMkLst>
        </pc:spChg>
      </pc:sldChg>
    </pc:docChg>
  </pc:docChgLst>
  <pc:docChgLst>
    <pc:chgData name="Thomas Stensitzki" userId="75cafe6b-2f2a-469b-85c4-eec3b9c972ba" providerId="ADAL" clId="{AC98C9C2-90B9-48FF-A46C-646F11BDA22F}"/>
    <pc:docChg chg="undo custSel addSld delSld modSld sldOrd modMainMaster delSection modSection">
      <pc:chgData name="Thomas Stensitzki" userId="75cafe6b-2f2a-469b-85c4-eec3b9c972ba" providerId="ADAL" clId="{AC98C9C2-90B9-48FF-A46C-646F11BDA22F}" dt="2020-03-29T16:43:06.339" v="5076" actId="20577"/>
      <pc:docMkLst>
        <pc:docMk/>
      </pc:docMkLst>
      <pc:sldChg chg="modSp mod">
        <pc:chgData name="Thomas Stensitzki" userId="75cafe6b-2f2a-469b-85c4-eec3b9c972ba" providerId="ADAL" clId="{AC98C9C2-90B9-48FF-A46C-646F11BDA22F}" dt="2020-03-21T13:56:41.307" v="21" actId="20577"/>
        <pc:sldMkLst>
          <pc:docMk/>
          <pc:sldMk cId="1331178014" sldId="256"/>
        </pc:sldMkLst>
        <pc:spChg chg="mod">
          <ac:chgData name="Thomas Stensitzki" userId="75cafe6b-2f2a-469b-85c4-eec3b9c972ba" providerId="ADAL" clId="{AC98C9C2-90B9-48FF-A46C-646F11BDA22F}" dt="2020-03-21T13:56:41.307" v="21" actId="20577"/>
          <ac:spMkLst>
            <pc:docMk/>
            <pc:sldMk cId="1331178014" sldId="256"/>
            <ac:spMk id="2" creationId="{E137B2CB-D047-404D-B8CC-C662AA78F69E}"/>
          </ac:spMkLst>
        </pc:spChg>
        <pc:spChg chg="mod">
          <ac:chgData name="Thomas Stensitzki" userId="75cafe6b-2f2a-469b-85c4-eec3b9c972ba" providerId="ADAL" clId="{AC98C9C2-90B9-48FF-A46C-646F11BDA22F}" dt="2020-03-21T13:56:32.512" v="1" actId="6549"/>
          <ac:spMkLst>
            <pc:docMk/>
            <pc:sldMk cId="1331178014" sldId="256"/>
            <ac:spMk id="3" creationId="{FD1EE5AE-531F-46B2-BC77-BEC77D90CE70}"/>
          </ac:spMkLst>
        </pc:spChg>
      </pc:sldChg>
      <pc:sldChg chg="modSp mod">
        <pc:chgData name="Thomas Stensitzki" userId="75cafe6b-2f2a-469b-85c4-eec3b9c972ba" providerId="ADAL" clId="{AC98C9C2-90B9-48FF-A46C-646F11BDA22F}" dt="2020-03-27T08:43:26.582" v="1993" actId="20577"/>
        <pc:sldMkLst>
          <pc:docMk/>
          <pc:sldMk cId="2987849416" sldId="261"/>
        </pc:sldMkLst>
        <pc:spChg chg="mod">
          <ac:chgData name="Thomas Stensitzki" userId="75cafe6b-2f2a-469b-85c4-eec3b9c972ba" providerId="ADAL" clId="{AC98C9C2-90B9-48FF-A46C-646F11BDA22F}" dt="2020-03-27T08:43:26.582" v="1993" actId="20577"/>
          <ac:spMkLst>
            <pc:docMk/>
            <pc:sldMk cId="2987849416" sldId="261"/>
            <ac:spMk id="3" creationId="{00000000-0000-0000-0000-000000000000}"/>
          </ac:spMkLst>
        </pc:spChg>
      </pc:sldChg>
      <pc:sldChg chg="modSp mod">
        <pc:chgData name="Thomas Stensitzki" userId="75cafe6b-2f2a-469b-85c4-eec3b9c972ba" providerId="ADAL" clId="{AC98C9C2-90B9-48FF-A46C-646F11BDA22F}" dt="2020-03-21T13:57:06.017" v="77" actId="20577"/>
        <pc:sldMkLst>
          <pc:docMk/>
          <pc:sldMk cId="2223191929" sldId="262"/>
        </pc:sldMkLst>
        <pc:spChg chg="mod">
          <ac:chgData name="Thomas Stensitzki" userId="75cafe6b-2f2a-469b-85c4-eec3b9c972ba" providerId="ADAL" clId="{AC98C9C2-90B9-48FF-A46C-646F11BDA22F}" dt="2020-03-21T13:56:51.741" v="32" actId="20577"/>
          <ac:spMkLst>
            <pc:docMk/>
            <pc:sldMk cId="2223191929" sldId="262"/>
            <ac:spMk id="4" creationId="{70E8EAA7-76C4-4D2B-81CE-57CA4627D39E}"/>
          </ac:spMkLst>
        </pc:spChg>
        <pc:spChg chg="mod">
          <ac:chgData name="Thomas Stensitzki" userId="75cafe6b-2f2a-469b-85c4-eec3b9c972ba" providerId="ADAL" clId="{AC98C9C2-90B9-48FF-A46C-646F11BDA22F}" dt="2020-03-21T13:57:06.017" v="77" actId="20577"/>
          <ac:spMkLst>
            <pc:docMk/>
            <pc:sldMk cId="2223191929" sldId="262"/>
            <ac:spMk id="5" creationId="{94140262-613E-47E0-8110-F2C2EDE2EFD9}"/>
          </ac:spMkLst>
        </pc:spChg>
      </pc:sldChg>
      <pc:sldChg chg="addSp delSp modSp mod modClrScheme modAnim chgLayout">
        <pc:chgData name="Thomas Stensitzki" userId="75cafe6b-2f2a-469b-85c4-eec3b9c972ba" providerId="ADAL" clId="{AC98C9C2-90B9-48FF-A46C-646F11BDA22F}" dt="2020-03-29T16:30:43.831" v="4481" actId="6549"/>
        <pc:sldMkLst>
          <pc:docMk/>
          <pc:sldMk cId="2878057155" sldId="263"/>
        </pc:sldMkLst>
        <pc:spChg chg="add del mod ord">
          <ac:chgData name="Thomas Stensitzki" userId="75cafe6b-2f2a-469b-85c4-eec3b9c972ba" providerId="ADAL" clId="{AC98C9C2-90B9-48FF-A46C-646F11BDA22F}" dt="2020-03-28T17:04:58.895" v="2195" actId="478"/>
          <ac:spMkLst>
            <pc:docMk/>
            <pc:sldMk cId="2878057155" sldId="263"/>
            <ac:spMk id="2" creationId="{C5F0F811-CED2-4975-B9E6-38A12974FF43}"/>
          </ac:spMkLst>
        </pc:spChg>
        <pc:spChg chg="mod ord">
          <ac:chgData name="Thomas Stensitzki" userId="75cafe6b-2f2a-469b-85c4-eec3b9c972ba" providerId="ADAL" clId="{AC98C9C2-90B9-48FF-A46C-646F11BDA22F}" dt="2020-03-26T16:42:04.830" v="1537" actId="255"/>
          <ac:spMkLst>
            <pc:docMk/>
            <pc:sldMk cId="2878057155" sldId="263"/>
            <ac:spMk id="4" creationId="{14922262-E9AA-44F7-9BEB-EC43A25B6F3A}"/>
          </ac:spMkLst>
        </pc:spChg>
        <pc:spChg chg="mod ord">
          <ac:chgData name="Thomas Stensitzki" userId="75cafe6b-2f2a-469b-85c4-eec3b9c972ba" providerId="ADAL" clId="{AC98C9C2-90B9-48FF-A46C-646F11BDA22F}" dt="2020-03-29T16:30:43.831" v="4481" actId="6549"/>
          <ac:spMkLst>
            <pc:docMk/>
            <pc:sldMk cId="2878057155" sldId="263"/>
            <ac:spMk id="5" creationId="{DA40B791-B953-4F29-A170-3755750E1DE3}"/>
          </ac:spMkLst>
        </pc:spChg>
        <pc:spChg chg="add">
          <ac:chgData name="Thomas Stensitzki" userId="75cafe6b-2f2a-469b-85c4-eec3b9c972ba" providerId="ADAL" clId="{AC98C9C2-90B9-48FF-A46C-646F11BDA22F}" dt="2020-03-28T17:04:59.637" v="2196"/>
          <ac:spMkLst>
            <pc:docMk/>
            <pc:sldMk cId="2878057155" sldId="263"/>
            <ac:spMk id="6" creationId="{F43403AC-DA9C-4226-B697-F878B93D96DA}"/>
          </ac:spMkLst>
        </pc:spChg>
        <pc:spChg chg="add">
          <ac:chgData name="Thomas Stensitzki" userId="75cafe6b-2f2a-469b-85c4-eec3b9c972ba" providerId="ADAL" clId="{AC98C9C2-90B9-48FF-A46C-646F11BDA22F}" dt="2020-03-28T17:04:59.637" v="2196"/>
          <ac:spMkLst>
            <pc:docMk/>
            <pc:sldMk cId="2878057155" sldId="263"/>
            <ac:spMk id="7" creationId="{2377453D-E29F-4F3E-B5C4-973316031167}"/>
          </ac:spMkLst>
        </pc:spChg>
        <pc:spChg chg="add mod">
          <ac:chgData name="Thomas Stensitzki" userId="75cafe6b-2f2a-469b-85c4-eec3b9c972ba" providerId="ADAL" clId="{AC98C9C2-90B9-48FF-A46C-646F11BDA22F}" dt="2020-03-28T17:08:48.438" v="2236" actId="17032"/>
          <ac:spMkLst>
            <pc:docMk/>
            <pc:sldMk cId="2878057155" sldId="263"/>
            <ac:spMk id="15" creationId="{4A473C4B-5A39-4954-85D9-3285223C2778}"/>
          </ac:spMkLst>
        </pc:spChg>
        <pc:spChg chg="add mod">
          <ac:chgData name="Thomas Stensitzki" userId="75cafe6b-2f2a-469b-85c4-eec3b9c972ba" providerId="ADAL" clId="{AC98C9C2-90B9-48FF-A46C-646F11BDA22F}" dt="2020-03-28T17:15:17.009" v="2335" actId="1076"/>
          <ac:spMkLst>
            <pc:docMk/>
            <pc:sldMk cId="2878057155" sldId="263"/>
            <ac:spMk id="23" creationId="{0BCA956F-F43F-431A-BCC0-7A2A6502DDC3}"/>
          </ac:spMkLst>
        </pc:spChg>
        <pc:picChg chg="add">
          <ac:chgData name="Thomas Stensitzki" userId="75cafe6b-2f2a-469b-85c4-eec3b9c972ba" providerId="ADAL" clId="{AC98C9C2-90B9-48FF-A46C-646F11BDA22F}" dt="2020-03-28T17:04:59.637" v="2196"/>
          <ac:picMkLst>
            <pc:docMk/>
            <pc:sldMk cId="2878057155" sldId="263"/>
            <ac:picMk id="8" creationId="{A704DD11-A231-4052-A748-8992B8034664}"/>
          </ac:picMkLst>
        </pc:picChg>
        <pc:picChg chg="add">
          <ac:chgData name="Thomas Stensitzki" userId="75cafe6b-2f2a-469b-85c4-eec3b9c972ba" providerId="ADAL" clId="{AC98C9C2-90B9-48FF-A46C-646F11BDA22F}" dt="2020-03-28T17:04:59.637" v="2196"/>
          <ac:picMkLst>
            <pc:docMk/>
            <pc:sldMk cId="2878057155" sldId="263"/>
            <ac:picMk id="9" creationId="{96BDAE02-0C7D-4832-BF00-D5324A99A155}"/>
          </ac:picMkLst>
        </pc:picChg>
        <pc:picChg chg="add mod">
          <ac:chgData name="Thomas Stensitzki" userId="75cafe6b-2f2a-469b-85c4-eec3b9c972ba" providerId="ADAL" clId="{AC98C9C2-90B9-48FF-A46C-646F11BDA22F}" dt="2020-03-28T17:05:59.611" v="2199" actId="1076"/>
          <ac:picMkLst>
            <pc:docMk/>
            <pc:sldMk cId="2878057155" sldId="263"/>
            <ac:picMk id="10" creationId="{E0D6FE3D-B614-479A-9F1C-19A59904FC0E}"/>
          </ac:picMkLst>
        </pc:picChg>
        <pc:picChg chg="add del mod">
          <ac:chgData name="Thomas Stensitzki" userId="75cafe6b-2f2a-469b-85c4-eec3b9c972ba" providerId="ADAL" clId="{AC98C9C2-90B9-48FF-A46C-646F11BDA22F}" dt="2020-03-28T17:12:32.604" v="2308" actId="478"/>
          <ac:picMkLst>
            <pc:docMk/>
            <pc:sldMk cId="2878057155" sldId="263"/>
            <ac:picMk id="14" creationId="{6E98B4EF-502F-48AD-9EE3-85924D179D45}"/>
          </ac:picMkLst>
        </pc:picChg>
        <pc:picChg chg="add del mod">
          <ac:chgData name="Thomas Stensitzki" userId="75cafe6b-2f2a-469b-85c4-eec3b9c972ba" providerId="ADAL" clId="{AC98C9C2-90B9-48FF-A46C-646F11BDA22F}" dt="2020-03-28T17:12:27.968" v="2306" actId="478"/>
          <ac:picMkLst>
            <pc:docMk/>
            <pc:sldMk cId="2878057155" sldId="263"/>
            <ac:picMk id="16" creationId="{7AB0B240-416B-4A73-87E7-F91F6265F7C4}"/>
          </ac:picMkLst>
        </pc:picChg>
        <pc:picChg chg="add mod">
          <ac:chgData name="Thomas Stensitzki" userId="75cafe6b-2f2a-469b-85c4-eec3b9c972ba" providerId="ADAL" clId="{AC98C9C2-90B9-48FF-A46C-646F11BDA22F}" dt="2020-03-28T17:15:35.397" v="2336" actId="1076"/>
          <ac:picMkLst>
            <pc:docMk/>
            <pc:sldMk cId="2878057155" sldId="263"/>
            <ac:picMk id="18" creationId="{4D7B900D-72C7-4618-A729-397F02F21850}"/>
          </ac:picMkLst>
        </pc:picChg>
        <pc:picChg chg="add del mod">
          <ac:chgData name="Thomas Stensitzki" userId="75cafe6b-2f2a-469b-85c4-eec3b9c972ba" providerId="ADAL" clId="{AC98C9C2-90B9-48FF-A46C-646F11BDA22F}" dt="2020-03-28T17:12:40.844" v="2312" actId="478"/>
          <ac:picMkLst>
            <pc:docMk/>
            <pc:sldMk cId="2878057155" sldId="263"/>
            <ac:picMk id="19" creationId="{D7EEEDD0-1506-4042-9450-EF673A951BF4}"/>
          </ac:picMkLst>
        </pc:picChg>
        <pc:picChg chg="add mod">
          <ac:chgData name="Thomas Stensitzki" userId="75cafe6b-2f2a-469b-85c4-eec3b9c972ba" providerId="ADAL" clId="{AC98C9C2-90B9-48FF-A46C-646F11BDA22F}" dt="2020-03-28T17:13:17.922" v="2316" actId="1076"/>
          <ac:picMkLst>
            <pc:docMk/>
            <pc:sldMk cId="2878057155" sldId="263"/>
            <ac:picMk id="20" creationId="{69982CED-8279-499E-9655-4C065FCB628A}"/>
          </ac:picMkLst>
        </pc:picChg>
        <pc:picChg chg="add mod">
          <ac:chgData name="Thomas Stensitzki" userId="75cafe6b-2f2a-469b-85c4-eec3b9c972ba" providerId="ADAL" clId="{AC98C9C2-90B9-48FF-A46C-646F11BDA22F}" dt="2020-03-28T17:14:04.918" v="2320" actId="1076"/>
          <ac:picMkLst>
            <pc:docMk/>
            <pc:sldMk cId="2878057155" sldId="263"/>
            <ac:picMk id="21" creationId="{ED5C35F2-7EF1-4C0B-BC3C-19ED44D4E9EC}"/>
          </ac:picMkLst>
        </pc:picChg>
        <pc:picChg chg="add mod">
          <ac:chgData name="Thomas Stensitzki" userId="75cafe6b-2f2a-469b-85c4-eec3b9c972ba" providerId="ADAL" clId="{AC98C9C2-90B9-48FF-A46C-646F11BDA22F}" dt="2020-03-28T17:14:14.808" v="2322" actId="1076"/>
          <ac:picMkLst>
            <pc:docMk/>
            <pc:sldMk cId="2878057155" sldId="263"/>
            <ac:picMk id="22" creationId="{D4FEAE3D-C13D-4250-91CB-1FB411547C6E}"/>
          </ac:picMkLst>
        </pc:picChg>
        <pc:cxnChg chg="add mod">
          <ac:chgData name="Thomas Stensitzki" userId="75cafe6b-2f2a-469b-85c4-eec3b9c972ba" providerId="ADAL" clId="{AC98C9C2-90B9-48FF-A46C-646F11BDA22F}" dt="2020-03-28T17:06:38.303" v="2202" actId="1582"/>
          <ac:cxnSpMkLst>
            <pc:docMk/>
            <pc:sldMk cId="2878057155" sldId="263"/>
            <ac:cxnSpMk id="11" creationId="{C03CB256-4E10-4CC3-96FE-ED5E70685C60}"/>
          </ac:cxnSpMkLst>
        </pc:cxnChg>
        <pc:cxnChg chg="add mod ord">
          <ac:chgData name="Thomas Stensitzki" userId="75cafe6b-2f2a-469b-85c4-eec3b9c972ba" providerId="ADAL" clId="{AC98C9C2-90B9-48FF-A46C-646F11BDA22F}" dt="2020-03-28T17:08:52.208" v="2237" actId="166"/>
          <ac:cxnSpMkLst>
            <pc:docMk/>
            <pc:sldMk cId="2878057155" sldId="263"/>
            <ac:cxnSpMk id="12" creationId="{6C2B62C6-A56D-4223-95D5-2066D2A2B648}"/>
          </ac:cxnSpMkLst>
        </pc:cxnChg>
        <pc:cxnChg chg="add mod">
          <ac:chgData name="Thomas Stensitzki" userId="75cafe6b-2f2a-469b-85c4-eec3b9c972ba" providerId="ADAL" clId="{AC98C9C2-90B9-48FF-A46C-646F11BDA22F}" dt="2020-03-28T17:13:03.740" v="2315"/>
          <ac:cxnSpMkLst>
            <pc:docMk/>
            <pc:sldMk cId="2878057155" sldId="263"/>
            <ac:cxnSpMk id="17" creationId="{5B737EBA-478D-48C6-AE12-8A5D63DC167B}"/>
          </ac:cxnSpMkLst>
        </pc:cxnChg>
      </pc:sldChg>
      <pc:sldChg chg="del">
        <pc:chgData name="Thomas Stensitzki" userId="75cafe6b-2f2a-469b-85c4-eec3b9c972ba" providerId="ADAL" clId="{AC98C9C2-90B9-48FF-A46C-646F11BDA22F}" dt="2020-03-21T13:57:30.419" v="82" actId="47"/>
        <pc:sldMkLst>
          <pc:docMk/>
          <pc:sldMk cId="309612796" sldId="264"/>
        </pc:sldMkLst>
      </pc:sldChg>
      <pc:sldChg chg="del">
        <pc:chgData name="Thomas Stensitzki" userId="75cafe6b-2f2a-469b-85c4-eec3b9c972ba" providerId="ADAL" clId="{AC98C9C2-90B9-48FF-A46C-646F11BDA22F}" dt="2020-03-21T13:57:55.730" v="127" actId="47"/>
        <pc:sldMkLst>
          <pc:docMk/>
          <pc:sldMk cId="2372232763" sldId="265"/>
        </pc:sldMkLst>
      </pc:sldChg>
      <pc:sldChg chg="del">
        <pc:chgData name="Thomas Stensitzki" userId="75cafe6b-2f2a-469b-85c4-eec3b9c972ba" providerId="ADAL" clId="{AC98C9C2-90B9-48FF-A46C-646F11BDA22F}" dt="2020-03-21T13:57:23.487" v="79" actId="47"/>
        <pc:sldMkLst>
          <pc:docMk/>
          <pc:sldMk cId="984965064" sldId="266"/>
        </pc:sldMkLst>
      </pc:sldChg>
      <pc:sldChg chg="del">
        <pc:chgData name="Thomas Stensitzki" userId="75cafe6b-2f2a-469b-85c4-eec3b9c972ba" providerId="ADAL" clId="{AC98C9C2-90B9-48FF-A46C-646F11BDA22F}" dt="2020-03-21T13:57:24.884" v="80" actId="47"/>
        <pc:sldMkLst>
          <pc:docMk/>
          <pc:sldMk cId="3106005217" sldId="267"/>
        </pc:sldMkLst>
      </pc:sldChg>
      <pc:sldChg chg="del">
        <pc:chgData name="Thomas Stensitzki" userId="75cafe6b-2f2a-469b-85c4-eec3b9c972ba" providerId="ADAL" clId="{AC98C9C2-90B9-48FF-A46C-646F11BDA22F}" dt="2020-03-21T13:57:28.455" v="81" actId="47"/>
        <pc:sldMkLst>
          <pc:docMk/>
          <pc:sldMk cId="209900412" sldId="268"/>
        </pc:sldMkLst>
      </pc:sldChg>
      <pc:sldChg chg="del">
        <pc:chgData name="Thomas Stensitzki" userId="75cafe6b-2f2a-469b-85c4-eec3b9c972ba" providerId="ADAL" clId="{AC98C9C2-90B9-48FF-A46C-646F11BDA22F}" dt="2020-03-21T13:57:23.487" v="79" actId="47"/>
        <pc:sldMkLst>
          <pc:docMk/>
          <pc:sldMk cId="3588083738" sldId="270"/>
        </pc:sldMkLst>
      </pc:sldChg>
      <pc:sldChg chg="del">
        <pc:chgData name="Thomas Stensitzki" userId="75cafe6b-2f2a-469b-85c4-eec3b9c972ba" providerId="ADAL" clId="{AC98C9C2-90B9-48FF-A46C-646F11BDA22F}" dt="2020-03-21T13:57:23.487" v="79" actId="47"/>
        <pc:sldMkLst>
          <pc:docMk/>
          <pc:sldMk cId="1887195767" sldId="271"/>
        </pc:sldMkLst>
      </pc:sldChg>
      <pc:sldChg chg="del">
        <pc:chgData name="Thomas Stensitzki" userId="75cafe6b-2f2a-469b-85c4-eec3b9c972ba" providerId="ADAL" clId="{AC98C9C2-90B9-48FF-A46C-646F11BDA22F}" dt="2020-03-21T13:57:55.730" v="127" actId="47"/>
        <pc:sldMkLst>
          <pc:docMk/>
          <pc:sldMk cId="1435964490" sldId="272"/>
        </pc:sldMkLst>
      </pc:sldChg>
      <pc:sldChg chg="del">
        <pc:chgData name="Thomas Stensitzki" userId="75cafe6b-2f2a-469b-85c4-eec3b9c972ba" providerId="ADAL" clId="{AC98C9C2-90B9-48FF-A46C-646F11BDA22F}" dt="2020-03-21T13:57:24.884" v="80" actId="47"/>
        <pc:sldMkLst>
          <pc:docMk/>
          <pc:sldMk cId="2839340001" sldId="273"/>
        </pc:sldMkLst>
      </pc:sldChg>
      <pc:sldChg chg="del">
        <pc:chgData name="Thomas Stensitzki" userId="75cafe6b-2f2a-469b-85c4-eec3b9c972ba" providerId="ADAL" clId="{AC98C9C2-90B9-48FF-A46C-646F11BDA22F}" dt="2020-03-21T13:57:24.884" v="80" actId="47"/>
        <pc:sldMkLst>
          <pc:docMk/>
          <pc:sldMk cId="1922736884" sldId="274"/>
        </pc:sldMkLst>
      </pc:sldChg>
      <pc:sldChg chg="addSp delSp modSp mod delAnim modAnim">
        <pc:chgData name="Thomas Stensitzki" userId="75cafe6b-2f2a-469b-85c4-eec3b9c972ba" providerId="ADAL" clId="{AC98C9C2-90B9-48FF-A46C-646F11BDA22F}" dt="2020-03-28T17:44:20.993" v="4290" actId="20577"/>
        <pc:sldMkLst>
          <pc:docMk/>
          <pc:sldMk cId="41381501" sldId="276"/>
        </pc:sldMkLst>
        <pc:spChg chg="del mod">
          <ac:chgData name="Thomas Stensitzki" userId="75cafe6b-2f2a-469b-85c4-eec3b9c972ba" providerId="ADAL" clId="{AC98C9C2-90B9-48FF-A46C-646F11BDA22F}" dt="2020-03-24T13:51:41.261" v="498" actId="478"/>
          <ac:spMkLst>
            <pc:docMk/>
            <pc:sldMk cId="41381501" sldId="276"/>
            <ac:spMk id="3" creationId="{72F86933-FC85-461C-928D-9100FC484C80}"/>
          </ac:spMkLst>
        </pc:spChg>
        <pc:spChg chg="add del mod">
          <ac:chgData name="Thomas Stensitzki" userId="75cafe6b-2f2a-469b-85c4-eec3b9c972ba" providerId="ADAL" clId="{AC98C9C2-90B9-48FF-A46C-646F11BDA22F}" dt="2020-03-24T13:51:54.143" v="499" actId="3680"/>
          <ac:spMkLst>
            <pc:docMk/>
            <pc:sldMk cId="41381501" sldId="276"/>
            <ac:spMk id="4" creationId="{08C5C256-35EB-49E4-AF9A-2713522AB08B}"/>
          </ac:spMkLst>
        </pc:spChg>
        <pc:spChg chg="mod">
          <ac:chgData name="Thomas Stensitzki" userId="75cafe6b-2f2a-469b-85c4-eec3b9c972ba" providerId="ADAL" clId="{AC98C9C2-90B9-48FF-A46C-646F11BDA22F}" dt="2020-03-28T17:44:20.993" v="4290" actId="20577"/>
          <ac:spMkLst>
            <pc:docMk/>
            <pc:sldMk cId="41381501" sldId="276"/>
            <ac:spMk id="6" creationId="{96787303-A32D-4A24-BBA4-7779D0A86649}"/>
          </ac:spMkLst>
        </pc:spChg>
        <pc:graphicFrameChg chg="add mod ord modGraphic">
          <ac:chgData name="Thomas Stensitzki" userId="75cafe6b-2f2a-469b-85c4-eec3b9c972ba" providerId="ADAL" clId="{AC98C9C2-90B9-48FF-A46C-646F11BDA22F}" dt="2020-03-26T15:55:35.499" v="1396" actId="20577"/>
          <ac:graphicFrameMkLst>
            <pc:docMk/>
            <pc:sldMk cId="41381501" sldId="276"/>
            <ac:graphicFrameMk id="5" creationId="{AC59F959-B1BE-43B5-BD30-9CF4C87CDEB2}"/>
          </ac:graphicFrameMkLst>
        </pc:graphicFrameChg>
      </pc:sldChg>
      <pc:sldChg chg="modSp mod">
        <pc:chgData name="Thomas Stensitzki" userId="75cafe6b-2f2a-469b-85c4-eec3b9c972ba" providerId="ADAL" clId="{AC98C9C2-90B9-48FF-A46C-646F11BDA22F}" dt="2020-03-26T16:43:03.926" v="1591" actId="20577"/>
        <pc:sldMkLst>
          <pc:docMk/>
          <pc:sldMk cId="828951719" sldId="277"/>
        </pc:sldMkLst>
        <pc:spChg chg="mod">
          <ac:chgData name="Thomas Stensitzki" userId="75cafe6b-2f2a-469b-85c4-eec3b9c972ba" providerId="ADAL" clId="{AC98C9C2-90B9-48FF-A46C-646F11BDA22F}" dt="2020-03-26T16:43:03.926" v="1591" actId="20577"/>
          <ac:spMkLst>
            <pc:docMk/>
            <pc:sldMk cId="828951719" sldId="277"/>
            <ac:spMk id="4" creationId="{FC21604D-7E6B-4879-8FF3-200EC57FDC5C}"/>
          </ac:spMkLst>
        </pc:spChg>
        <pc:spChg chg="mod">
          <ac:chgData name="Thomas Stensitzki" userId="75cafe6b-2f2a-469b-85c4-eec3b9c972ba" providerId="ADAL" clId="{AC98C9C2-90B9-48FF-A46C-646F11BDA22F}" dt="2020-03-21T13:58:14.555" v="157" actId="20577"/>
          <ac:spMkLst>
            <pc:docMk/>
            <pc:sldMk cId="828951719" sldId="277"/>
            <ac:spMk id="5" creationId="{50458381-7891-46FF-88AB-900CAA745755}"/>
          </ac:spMkLst>
        </pc:spChg>
      </pc:sldChg>
      <pc:sldChg chg="addSp delSp modSp add mod ord modClrScheme modAnim chgLayout">
        <pc:chgData name="Thomas Stensitzki" userId="75cafe6b-2f2a-469b-85c4-eec3b9c972ba" providerId="ADAL" clId="{AC98C9C2-90B9-48FF-A46C-646F11BDA22F}" dt="2020-03-28T17:28:03.215" v="2830" actId="1076"/>
        <pc:sldMkLst>
          <pc:docMk/>
          <pc:sldMk cId="2175066327" sldId="278"/>
        </pc:sldMkLst>
        <pc:spChg chg="add del mod">
          <ac:chgData name="Thomas Stensitzki" userId="75cafe6b-2f2a-469b-85c4-eec3b9c972ba" providerId="ADAL" clId="{AC98C9C2-90B9-48FF-A46C-646F11BDA22F}" dt="2020-03-28T17:15:50.178" v="2337" actId="478"/>
          <ac:spMkLst>
            <pc:docMk/>
            <pc:sldMk cId="2175066327" sldId="278"/>
            <ac:spMk id="2" creationId="{F8CB2F8D-950E-4FB1-A804-3D14869A5FD1}"/>
          </ac:spMkLst>
        </pc:spChg>
        <pc:spChg chg="add del mod ord">
          <ac:chgData name="Thomas Stensitzki" userId="75cafe6b-2f2a-469b-85c4-eec3b9c972ba" providerId="ADAL" clId="{AC98C9C2-90B9-48FF-A46C-646F11BDA22F}" dt="2020-03-26T14:48:02.274" v="1162" actId="700"/>
          <ac:spMkLst>
            <pc:docMk/>
            <pc:sldMk cId="2175066327" sldId="278"/>
            <ac:spMk id="3" creationId="{97E5F11A-9D05-459B-A840-14FB2095340E}"/>
          </ac:spMkLst>
        </pc:spChg>
        <pc:spChg chg="add mod ord">
          <ac:chgData name="Thomas Stensitzki" userId="75cafe6b-2f2a-469b-85c4-eec3b9c972ba" providerId="ADAL" clId="{AC98C9C2-90B9-48FF-A46C-646F11BDA22F}" dt="2020-03-28T17:20:53.236" v="2677" actId="20577"/>
          <ac:spMkLst>
            <pc:docMk/>
            <pc:sldMk cId="2175066327" sldId="278"/>
            <ac:spMk id="4" creationId="{FFDAF3CC-7FFE-4740-B5B5-AB6223D1974C}"/>
          </ac:spMkLst>
        </pc:spChg>
        <pc:spChg chg="mod ord">
          <ac:chgData name="Thomas Stensitzki" userId="75cafe6b-2f2a-469b-85c4-eec3b9c972ba" providerId="ADAL" clId="{AC98C9C2-90B9-48FF-A46C-646F11BDA22F}" dt="2020-03-26T16:42:19.620" v="1547" actId="20577"/>
          <ac:spMkLst>
            <pc:docMk/>
            <pc:sldMk cId="2175066327" sldId="278"/>
            <ac:spMk id="6" creationId="{96787303-A32D-4A24-BBA4-7779D0A86649}"/>
          </ac:spMkLst>
        </pc:spChg>
        <pc:spChg chg="add del mod ord">
          <ac:chgData name="Thomas Stensitzki" userId="75cafe6b-2f2a-469b-85c4-eec3b9c972ba" providerId="ADAL" clId="{AC98C9C2-90B9-48FF-A46C-646F11BDA22F}" dt="2020-03-28T17:00:48.475" v="2132" actId="478"/>
          <ac:spMkLst>
            <pc:docMk/>
            <pc:sldMk cId="2175066327" sldId="278"/>
            <ac:spMk id="7" creationId="{903C5838-6562-47DF-AD88-DDFD6F93F167}"/>
          </ac:spMkLst>
        </pc:spChg>
        <pc:spChg chg="add del mod">
          <ac:chgData name="Thomas Stensitzki" userId="75cafe6b-2f2a-469b-85c4-eec3b9c972ba" providerId="ADAL" clId="{AC98C9C2-90B9-48FF-A46C-646F11BDA22F}" dt="2020-03-28T17:15:50.178" v="2337" actId="478"/>
          <ac:spMkLst>
            <pc:docMk/>
            <pc:sldMk cId="2175066327" sldId="278"/>
            <ac:spMk id="8" creationId="{0C631DAE-C929-483A-B3ED-F3394866C67D}"/>
          </ac:spMkLst>
        </pc:spChg>
        <pc:spChg chg="add">
          <ac:chgData name="Thomas Stensitzki" userId="75cafe6b-2f2a-469b-85c4-eec3b9c972ba" providerId="ADAL" clId="{AC98C9C2-90B9-48FF-A46C-646F11BDA22F}" dt="2020-03-28T17:15:57.958" v="2338"/>
          <ac:spMkLst>
            <pc:docMk/>
            <pc:sldMk cId="2175066327" sldId="278"/>
            <ac:spMk id="11" creationId="{ADA5384B-B7B1-4B73-B924-ACD1A4BEEFA8}"/>
          </ac:spMkLst>
        </pc:spChg>
        <pc:spChg chg="add">
          <ac:chgData name="Thomas Stensitzki" userId="75cafe6b-2f2a-469b-85c4-eec3b9c972ba" providerId="ADAL" clId="{AC98C9C2-90B9-48FF-A46C-646F11BDA22F}" dt="2020-03-28T17:15:57.958" v="2338"/>
          <ac:spMkLst>
            <pc:docMk/>
            <pc:sldMk cId="2175066327" sldId="278"/>
            <ac:spMk id="12" creationId="{7AAD66BC-4456-46C3-9FFE-D1C447949C93}"/>
          </ac:spMkLst>
        </pc:spChg>
        <pc:spChg chg="add">
          <ac:chgData name="Thomas Stensitzki" userId="75cafe6b-2f2a-469b-85c4-eec3b9c972ba" providerId="ADAL" clId="{AC98C9C2-90B9-48FF-A46C-646F11BDA22F}" dt="2020-03-28T17:15:57.958" v="2338"/>
          <ac:spMkLst>
            <pc:docMk/>
            <pc:sldMk cId="2175066327" sldId="278"/>
            <ac:spMk id="17" creationId="{D7B137AE-59A0-4613-A886-7631FA2EFA9A}"/>
          </ac:spMkLst>
        </pc:spChg>
        <pc:spChg chg="add mod">
          <ac:chgData name="Thomas Stensitzki" userId="75cafe6b-2f2a-469b-85c4-eec3b9c972ba" providerId="ADAL" clId="{AC98C9C2-90B9-48FF-A46C-646F11BDA22F}" dt="2020-03-28T17:26:35.814" v="2818" actId="164"/>
          <ac:spMkLst>
            <pc:docMk/>
            <pc:sldMk cId="2175066327" sldId="278"/>
            <ac:spMk id="24" creationId="{D6BFCCC7-3FB9-451E-9F23-629EEB52A588}"/>
          </ac:spMkLst>
        </pc:spChg>
        <pc:grpChg chg="add mod">
          <ac:chgData name="Thomas Stensitzki" userId="75cafe6b-2f2a-469b-85c4-eec3b9c972ba" providerId="ADAL" clId="{AC98C9C2-90B9-48FF-A46C-646F11BDA22F}" dt="2020-03-28T17:28:03.215" v="2830" actId="1076"/>
          <ac:grpSpMkLst>
            <pc:docMk/>
            <pc:sldMk cId="2175066327" sldId="278"/>
            <ac:grpSpMk id="25" creationId="{0301B299-97D8-4712-8E15-9299C59EAB9F}"/>
          </ac:grpSpMkLst>
        </pc:grpChg>
        <pc:graphicFrameChg chg="del">
          <ac:chgData name="Thomas Stensitzki" userId="75cafe6b-2f2a-469b-85c4-eec3b9c972ba" providerId="ADAL" clId="{AC98C9C2-90B9-48FF-A46C-646F11BDA22F}" dt="2020-03-26T14:47:56.542" v="1161" actId="478"/>
          <ac:graphicFrameMkLst>
            <pc:docMk/>
            <pc:sldMk cId="2175066327" sldId="278"/>
            <ac:graphicFrameMk id="5" creationId="{AC59F959-B1BE-43B5-BD30-9CF4C87CDEB2}"/>
          </ac:graphicFrameMkLst>
        </pc:graphicFrameChg>
        <pc:picChg chg="add del mod">
          <ac:chgData name="Thomas Stensitzki" userId="75cafe6b-2f2a-469b-85c4-eec3b9c972ba" providerId="ADAL" clId="{AC98C9C2-90B9-48FF-A46C-646F11BDA22F}" dt="2020-03-28T17:04:03.509" v="2190" actId="478"/>
          <ac:picMkLst>
            <pc:docMk/>
            <pc:sldMk cId="2175066327" sldId="278"/>
            <ac:picMk id="3" creationId="{219EA01C-0DAD-4B6F-82D4-3DDF3B408C42}"/>
          </ac:picMkLst>
        </pc:picChg>
        <pc:picChg chg="add del mod">
          <ac:chgData name="Thomas Stensitzki" userId="75cafe6b-2f2a-469b-85c4-eec3b9c972ba" providerId="ADAL" clId="{AC98C9C2-90B9-48FF-A46C-646F11BDA22F}" dt="2020-03-28T17:15:50.178" v="2337" actId="478"/>
          <ac:picMkLst>
            <pc:docMk/>
            <pc:sldMk cId="2175066327" sldId="278"/>
            <ac:picMk id="5" creationId="{DAF62862-53D9-4360-B4E7-241338CA477A}"/>
          </ac:picMkLst>
        </pc:picChg>
        <pc:picChg chg="add del mod">
          <ac:chgData name="Thomas Stensitzki" userId="75cafe6b-2f2a-469b-85c4-eec3b9c972ba" providerId="ADAL" clId="{AC98C9C2-90B9-48FF-A46C-646F11BDA22F}" dt="2020-03-28T17:15:50.178" v="2337" actId="478"/>
          <ac:picMkLst>
            <pc:docMk/>
            <pc:sldMk cId="2175066327" sldId="278"/>
            <ac:picMk id="9" creationId="{50B3BA86-4491-458A-B556-6C2EFFC42DD0}"/>
          </ac:picMkLst>
        </pc:picChg>
        <pc:picChg chg="add del mod">
          <ac:chgData name="Thomas Stensitzki" userId="75cafe6b-2f2a-469b-85c4-eec3b9c972ba" providerId="ADAL" clId="{AC98C9C2-90B9-48FF-A46C-646F11BDA22F}" dt="2020-03-28T17:15:50.178" v="2337" actId="478"/>
          <ac:picMkLst>
            <pc:docMk/>
            <pc:sldMk cId="2175066327" sldId="278"/>
            <ac:picMk id="10" creationId="{A72FBDCC-412F-4750-A013-FE2E67063863}"/>
          </ac:picMkLst>
        </pc:picChg>
        <pc:picChg chg="add">
          <ac:chgData name="Thomas Stensitzki" userId="75cafe6b-2f2a-469b-85c4-eec3b9c972ba" providerId="ADAL" clId="{AC98C9C2-90B9-48FF-A46C-646F11BDA22F}" dt="2020-03-28T17:15:57.958" v="2338"/>
          <ac:picMkLst>
            <pc:docMk/>
            <pc:sldMk cId="2175066327" sldId="278"/>
            <ac:picMk id="13" creationId="{11F1C43F-37E9-41D0-9030-F427FE212C79}"/>
          </ac:picMkLst>
        </pc:picChg>
        <pc:picChg chg="add">
          <ac:chgData name="Thomas Stensitzki" userId="75cafe6b-2f2a-469b-85c4-eec3b9c972ba" providerId="ADAL" clId="{AC98C9C2-90B9-48FF-A46C-646F11BDA22F}" dt="2020-03-28T17:15:57.958" v="2338"/>
          <ac:picMkLst>
            <pc:docMk/>
            <pc:sldMk cId="2175066327" sldId="278"/>
            <ac:picMk id="14" creationId="{A9FB2213-708E-4358-9DC7-ADFCAF91C7CE}"/>
          </ac:picMkLst>
        </pc:picChg>
        <pc:picChg chg="add mod">
          <ac:chgData name="Thomas Stensitzki" userId="75cafe6b-2f2a-469b-85c4-eec3b9c972ba" providerId="ADAL" clId="{AC98C9C2-90B9-48FF-A46C-646F11BDA22F}" dt="2020-03-28T17:26:35.814" v="2818" actId="164"/>
          <ac:picMkLst>
            <pc:docMk/>
            <pc:sldMk cId="2175066327" sldId="278"/>
            <ac:picMk id="15" creationId="{A7B1B55E-8134-45C3-8A7B-A8CDFB73BB7B}"/>
          </ac:picMkLst>
        </pc:picChg>
        <pc:picChg chg="add">
          <ac:chgData name="Thomas Stensitzki" userId="75cafe6b-2f2a-469b-85c4-eec3b9c972ba" providerId="ADAL" clId="{AC98C9C2-90B9-48FF-A46C-646F11BDA22F}" dt="2020-03-28T17:15:57.958" v="2338"/>
          <ac:picMkLst>
            <pc:docMk/>
            <pc:sldMk cId="2175066327" sldId="278"/>
            <ac:picMk id="20" creationId="{490BFD56-369B-4C55-97C9-1CE285F5EEBF}"/>
          </ac:picMkLst>
        </pc:picChg>
        <pc:picChg chg="add">
          <ac:chgData name="Thomas Stensitzki" userId="75cafe6b-2f2a-469b-85c4-eec3b9c972ba" providerId="ADAL" clId="{AC98C9C2-90B9-48FF-A46C-646F11BDA22F}" dt="2020-03-28T17:15:57.958" v="2338"/>
          <ac:picMkLst>
            <pc:docMk/>
            <pc:sldMk cId="2175066327" sldId="278"/>
            <ac:picMk id="21" creationId="{3DAD0DD7-92A0-45B3-BC7F-1DA7B4248475}"/>
          </ac:picMkLst>
        </pc:picChg>
        <pc:picChg chg="add">
          <ac:chgData name="Thomas Stensitzki" userId="75cafe6b-2f2a-469b-85c4-eec3b9c972ba" providerId="ADAL" clId="{AC98C9C2-90B9-48FF-A46C-646F11BDA22F}" dt="2020-03-28T17:15:57.958" v="2338"/>
          <ac:picMkLst>
            <pc:docMk/>
            <pc:sldMk cId="2175066327" sldId="278"/>
            <ac:picMk id="22" creationId="{6AB7B3C3-C1F0-494B-99DA-A518EFEA10BE}"/>
          </ac:picMkLst>
        </pc:picChg>
        <pc:picChg chg="add">
          <ac:chgData name="Thomas Stensitzki" userId="75cafe6b-2f2a-469b-85c4-eec3b9c972ba" providerId="ADAL" clId="{AC98C9C2-90B9-48FF-A46C-646F11BDA22F}" dt="2020-03-28T17:15:57.958" v="2338"/>
          <ac:picMkLst>
            <pc:docMk/>
            <pc:sldMk cId="2175066327" sldId="278"/>
            <ac:picMk id="23" creationId="{CCDB9BCA-969E-40E8-8779-F7556A19CE96}"/>
          </ac:picMkLst>
        </pc:picChg>
        <pc:picChg chg="add del mod">
          <ac:chgData name="Thomas Stensitzki" userId="75cafe6b-2f2a-469b-85c4-eec3b9c972ba" providerId="ADAL" clId="{AC98C9C2-90B9-48FF-A46C-646F11BDA22F}" dt="2020-03-28T17:27:47.723" v="2827" actId="21"/>
          <ac:picMkLst>
            <pc:docMk/>
            <pc:sldMk cId="2175066327" sldId="278"/>
            <ac:picMk id="26" creationId="{A3405671-41C4-4F5A-86F6-413A8D32F5EC}"/>
          </ac:picMkLst>
        </pc:picChg>
        <pc:cxnChg chg="add">
          <ac:chgData name="Thomas Stensitzki" userId="75cafe6b-2f2a-469b-85c4-eec3b9c972ba" providerId="ADAL" clId="{AC98C9C2-90B9-48FF-A46C-646F11BDA22F}" dt="2020-03-28T17:15:57.958" v="2338"/>
          <ac:cxnSpMkLst>
            <pc:docMk/>
            <pc:sldMk cId="2175066327" sldId="278"/>
            <ac:cxnSpMk id="16" creationId="{E0B3F8A3-64C5-490D-998A-27DFB156CEFB}"/>
          </ac:cxnSpMkLst>
        </pc:cxnChg>
        <pc:cxnChg chg="add">
          <ac:chgData name="Thomas Stensitzki" userId="75cafe6b-2f2a-469b-85c4-eec3b9c972ba" providerId="ADAL" clId="{AC98C9C2-90B9-48FF-A46C-646F11BDA22F}" dt="2020-03-28T17:15:57.958" v="2338"/>
          <ac:cxnSpMkLst>
            <pc:docMk/>
            <pc:sldMk cId="2175066327" sldId="278"/>
            <ac:cxnSpMk id="18" creationId="{172B23AB-8643-4052-A04D-4EE3B90301EB}"/>
          </ac:cxnSpMkLst>
        </pc:cxnChg>
        <pc:cxnChg chg="add">
          <ac:chgData name="Thomas Stensitzki" userId="75cafe6b-2f2a-469b-85c4-eec3b9c972ba" providerId="ADAL" clId="{AC98C9C2-90B9-48FF-A46C-646F11BDA22F}" dt="2020-03-28T17:15:57.958" v="2338"/>
          <ac:cxnSpMkLst>
            <pc:docMk/>
            <pc:sldMk cId="2175066327" sldId="278"/>
            <ac:cxnSpMk id="19" creationId="{5271FF55-1CD8-479D-AA91-7E6FC253922B}"/>
          </ac:cxnSpMkLst>
        </pc:cxnChg>
      </pc:sldChg>
      <pc:sldChg chg="del">
        <pc:chgData name="Thomas Stensitzki" userId="75cafe6b-2f2a-469b-85c4-eec3b9c972ba" providerId="ADAL" clId="{AC98C9C2-90B9-48FF-A46C-646F11BDA22F}" dt="2020-03-21T13:57:23.487" v="79" actId="47"/>
        <pc:sldMkLst>
          <pc:docMk/>
          <pc:sldMk cId="2258919760" sldId="278"/>
        </pc:sldMkLst>
      </pc:sldChg>
      <pc:sldChg chg="addSp delSp modSp add mod">
        <pc:chgData name="Thomas Stensitzki" userId="75cafe6b-2f2a-469b-85c4-eec3b9c972ba" providerId="ADAL" clId="{AC98C9C2-90B9-48FF-A46C-646F11BDA22F}" dt="2020-03-28T17:53:05.409" v="4465" actId="6549"/>
        <pc:sldMkLst>
          <pc:docMk/>
          <pc:sldMk cId="2492806233" sldId="279"/>
        </pc:sldMkLst>
        <pc:spChg chg="mod">
          <ac:chgData name="Thomas Stensitzki" userId="75cafe6b-2f2a-469b-85c4-eec3b9c972ba" providerId="ADAL" clId="{AC98C9C2-90B9-48FF-A46C-646F11BDA22F}" dt="2020-03-28T17:53:05.409" v="4465" actId="6549"/>
          <ac:spMkLst>
            <pc:docMk/>
            <pc:sldMk cId="2492806233" sldId="279"/>
            <ac:spMk id="4" creationId="{FFDAF3CC-7FFE-4740-B5B5-AB6223D1974C}"/>
          </ac:spMkLst>
        </pc:spChg>
        <pc:spChg chg="add">
          <ac:chgData name="Thomas Stensitzki" userId="75cafe6b-2f2a-469b-85c4-eec3b9c972ba" providerId="ADAL" clId="{AC98C9C2-90B9-48FF-A46C-646F11BDA22F}" dt="2020-03-28T17:26:00.420" v="2815"/>
          <ac:spMkLst>
            <pc:docMk/>
            <pc:sldMk cId="2492806233" sldId="279"/>
            <ac:spMk id="5" creationId="{92882143-D736-4BC7-B4F7-453D32E06710}"/>
          </ac:spMkLst>
        </pc:spChg>
        <pc:spChg chg="mod">
          <ac:chgData name="Thomas Stensitzki" userId="75cafe6b-2f2a-469b-85c4-eec3b9c972ba" providerId="ADAL" clId="{AC98C9C2-90B9-48FF-A46C-646F11BDA22F}" dt="2020-03-28T17:32:36.136" v="3198" actId="20577"/>
          <ac:spMkLst>
            <pc:docMk/>
            <pc:sldMk cId="2492806233" sldId="279"/>
            <ac:spMk id="6" creationId="{96787303-A32D-4A24-BBA4-7779D0A86649}"/>
          </ac:spMkLst>
        </pc:spChg>
        <pc:spChg chg="del">
          <ac:chgData name="Thomas Stensitzki" userId="75cafe6b-2f2a-469b-85c4-eec3b9c972ba" providerId="ADAL" clId="{AC98C9C2-90B9-48FF-A46C-646F11BDA22F}" dt="2020-03-28T17:25:50.935" v="2814" actId="478"/>
          <ac:spMkLst>
            <pc:docMk/>
            <pc:sldMk cId="2492806233" sldId="279"/>
            <ac:spMk id="7" creationId="{903C5838-6562-47DF-AD88-DDFD6F93F167}"/>
          </ac:spMkLst>
        </pc:spChg>
        <pc:spChg chg="add">
          <ac:chgData name="Thomas Stensitzki" userId="75cafe6b-2f2a-469b-85c4-eec3b9c972ba" providerId="ADAL" clId="{AC98C9C2-90B9-48FF-A46C-646F11BDA22F}" dt="2020-03-28T17:26:00.420" v="2815"/>
          <ac:spMkLst>
            <pc:docMk/>
            <pc:sldMk cId="2492806233" sldId="279"/>
            <ac:spMk id="8" creationId="{60407016-7322-4656-801C-06B004A415B8}"/>
          </ac:spMkLst>
        </pc:spChg>
        <pc:spChg chg="add">
          <ac:chgData name="Thomas Stensitzki" userId="75cafe6b-2f2a-469b-85c4-eec3b9c972ba" providerId="ADAL" clId="{AC98C9C2-90B9-48FF-A46C-646F11BDA22F}" dt="2020-03-28T17:26:00.420" v="2815"/>
          <ac:spMkLst>
            <pc:docMk/>
            <pc:sldMk cId="2492806233" sldId="279"/>
            <ac:spMk id="13" creationId="{8E72A654-16B5-44B7-BEFF-668A8319E984}"/>
          </ac:spMkLst>
        </pc:spChg>
        <pc:spChg chg="add del">
          <ac:chgData name="Thomas Stensitzki" userId="75cafe6b-2f2a-469b-85c4-eec3b9c972ba" providerId="ADAL" clId="{AC98C9C2-90B9-48FF-A46C-646F11BDA22F}" dt="2020-03-28T17:28:11.546" v="2832" actId="478"/>
          <ac:spMkLst>
            <pc:docMk/>
            <pc:sldMk cId="2492806233" sldId="279"/>
            <ac:spMk id="20" creationId="{BB0311FC-E100-4578-8874-94C2D39E3EAE}"/>
          </ac:spMkLst>
        </pc:spChg>
        <pc:grpChg chg="add mod">
          <ac:chgData name="Thomas Stensitzki" userId="75cafe6b-2f2a-469b-85c4-eec3b9c972ba" providerId="ADAL" clId="{AC98C9C2-90B9-48FF-A46C-646F11BDA22F}" dt="2020-03-28T17:33:07.611" v="3203" actId="1076"/>
          <ac:grpSpMkLst>
            <pc:docMk/>
            <pc:sldMk cId="2492806233" sldId="279"/>
            <ac:grpSpMk id="22" creationId="{5439EC96-C8F0-4573-A967-2C43497B4583}"/>
          </ac:grpSpMkLst>
        </pc:grpChg>
        <pc:picChg chg="add mod">
          <ac:chgData name="Thomas Stensitzki" userId="75cafe6b-2f2a-469b-85c4-eec3b9c972ba" providerId="ADAL" clId="{AC98C9C2-90B9-48FF-A46C-646F11BDA22F}" dt="2020-03-28T17:28:43.487" v="2837" actId="1076"/>
          <ac:picMkLst>
            <pc:docMk/>
            <pc:sldMk cId="2492806233" sldId="279"/>
            <ac:picMk id="2" creationId="{22716A0C-B52E-4A77-BB76-DE4F590A9206}"/>
          </ac:picMkLst>
        </pc:picChg>
        <pc:picChg chg="add">
          <ac:chgData name="Thomas Stensitzki" userId="75cafe6b-2f2a-469b-85c4-eec3b9c972ba" providerId="ADAL" clId="{AC98C9C2-90B9-48FF-A46C-646F11BDA22F}" dt="2020-03-28T17:26:00.420" v="2815"/>
          <ac:picMkLst>
            <pc:docMk/>
            <pc:sldMk cId="2492806233" sldId="279"/>
            <ac:picMk id="9" creationId="{706AC549-CE57-4AA8-AD75-1CFC1FCDF17A}"/>
          </ac:picMkLst>
        </pc:picChg>
        <pc:picChg chg="add">
          <ac:chgData name="Thomas Stensitzki" userId="75cafe6b-2f2a-469b-85c4-eec3b9c972ba" providerId="ADAL" clId="{AC98C9C2-90B9-48FF-A46C-646F11BDA22F}" dt="2020-03-28T17:26:00.420" v="2815"/>
          <ac:picMkLst>
            <pc:docMk/>
            <pc:sldMk cId="2492806233" sldId="279"/>
            <ac:picMk id="10" creationId="{1F94A393-9450-4206-952A-84B7D38A71CD}"/>
          </ac:picMkLst>
        </pc:picChg>
        <pc:picChg chg="add del">
          <ac:chgData name="Thomas Stensitzki" userId="75cafe6b-2f2a-469b-85c4-eec3b9c972ba" providerId="ADAL" clId="{AC98C9C2-90B9-48FF-A46C-646F11BDA22F}" dt="2020-03-28T17:28:11.546" v="2832" actId="478"/>
          <ac:picMkLst>
            <pc:docMk/>
            <pc:sldMk cId="2492806233" sldId="279"/>
            <ac:picMk id="11" creationId="{40C326C5-67B6-4A45-91DD-FB538F046A40}"/>
          </ac:picMkLst>
        </pc:picChg>
        <pc:picChg chg="add">
          <ac:chgData name="Thomas Stensitzki" userId="75cafe6b-2f2a-469b-85c4-eec3b9c972ba" providerId="ADAL" clId="{AC98C9C2-90B9-48FF-A46C-646F11BDA22F}" dt="2020-03-28T17:26:00.420" v="2815"/>
          <ac:picMkLst>
            <pc:docMk/>
            <pc:sldMk cId="2492806233" sldId="279"/>
            <ac:picMk id="16" creationId="{D832F9CA-6664-485A-B68F-BE3222AEB18B}"/>
          </ac:picMkLst>
        </pc:picChg>
        <pc:picChg chg="add">
          <ac:chgData name="Thomas Stensitzki" userId="75cafe6b-2f2a-469b-85c4-eec3b9c972ba" providerId="ADAL" clId="{AC98C9C2-90B9-48FF-A46C-646F11BDA22F}" dt="2020-03-28T17:26:00.420" v="2815"/>
          <ac:picMkLst>
            <pc:docMk/>
            <pc:sldMk cId="2492806233" sldId="279"/>
            <ac:picMk id="17" creationId="{C5F38046-A9EE-4B1F-8344-D03F8D50C668}"/>
          </ac:picMkLst>
        </pc:picChg>
        <pc:picChg chg="add">
          <ac:chgData name="Thomas Stensitzki" userId="75cafe6b-2f2a-469b-85c4-eec3b9c972ba" providerId="ADAL" clId="{AC98C9C2-90B9-48FF-A46C-646F11BDA22F}" dt="2020-03-28T17:26:00.420" v="2815"/>
          <ac:picMkLst>
            <pc:docMk/>
            <pc:sldMk cId="2492806233" sldId="279"/>
            <ac:picMk id="18" creationId="{4E814F98-D5D7-4903-BA23-56349C2B8320}"/>
          </ac:picMkLst>
        </pc:picChg>
        <pc:picChg chg="add">
          <ac:chgData name="Thomas Stensitzki" userId="75cafe6b-2f2a-469b-85c4-eec3b9c972ba" providerId="ADAL" clId="{AC98C9C2-90B9-48FF-A46C-646F11BDA22F}" dt="2020-03-28T17:26:00.420" v="2815"/>
          <ac:picMkLst>
            <pc:docMk/>
            <pc:sldMk cId="2492806233" sldId="279"/>
            <ac:picMk id="19" creationId="{141733B4-066F-4632-974C-3B94ECEDE5DC}"/>
          </ac:picMkLst>
        </pc:picChg>
        <pc:picChg chg="add mod">
          <ac:chgData name="Thomas Stensitzki" userId="75cafe6b-2f2a-469b-85c4-eec3b9c972ba" providerId="ADAL" clId="{AC98C9C2-90B9-48FF-A46C-646F11BDA22F}" dt="2020-03-28T17:28:24.994" v="2835" actId="1076"/>
          <ac:picMkLst>
            <pc:docMk/>
            <pc:sldMk cId="2492806233" sldId="279"/>
            <ac:picMk id="21" creationId="{E175070F-EEE2-4773-8663-8699A9720988}"/>
          </ac:picMkLst>
        </pc:picChg>
        <pc:picChg chg="add del mod">
          <ac:chgData name="Thomas Stensitzki" userId="75cafe6b-2f2a-469b-85c4-eec3b9c972ba" providerId="ADAL" clId="{AC98C9C2-90B9-48FF-A46C-646F11BDA22F}" dt="2020-03-28T17:33:20.612" v="3206" actId="478"/>
          <ac:picMkLst>
            <pc:docMk/>
            <pc:sldMk cId="2492806233" sldId="279"/>
            <ac:picMk id="26" creationId="{6FEE9270-B876-4569-BF32-4FB30D659799}"/>
          </ac:picMkLst>
        </pc:picChg>
        <pc:cxnChg chg="add">
          <ac:chgData name="Thomas Stensitzki" userId="75cafe6b-2f2a-469b-85c4-eec3b9c972ba" providerId="ADAL" clId="{AC98C9C2-90B9-48FF-A46C-646F11BDA22F}" dt="2020-03-28T17:26:00.420" v="2815"/>
          <ac:cxnSpMkLst>
            <pc:docMk/>
            <pc:sldMk cId="2492806233" sldId="279"/>
            <ac:cxnSpMk id="12" creationId="{D21CEF4C-B16D-498B-A2AB-E3E1A88E9C18}"/>
          </ac:cxnSpMkLst>
        </pc:cxnChg>
        <pc:cxnChg chg="add">
          <ac:chgData name="Thomas Stensitzki" userId="75cafe6b-2f2a-469b-85c4-eec3b9c972ba" providerId="ADAL" clId="{AC98C9C2-90B9-48FF-A46C-646F11BDA22F}" dt="2020-03-28T17:26:00.420" v="2815"/>
          <ac:cxnSpMkLst>
            <pc:docMk/>
            <pc:sldMk cId="2492806233" sldId="279"/>
            <ac:cxnSpMk id="14" creationId="{68E4E45D-D9F3-4BB5-ADA6-2EEA4E52DE99}"/>
          </ac:cxnSpMkLst>
        </pc:cxnChg>
        <pc:cxnChg chg="add">
          <ac:chgData name="Thomas Stensitzki" userId="75cafe6b-2f2a-469b-85c4-eec3b9c972ba" providerId="ADAL" clId="{AC98C9C2-90B9-48FF-A46C-646F11BDA22F}" dt="2020-03-28T17:26:00.420" v="2815"/>
          <ac:cxnSpMkLst>
            <pc:docMk/>
            <pc:sldMk cId="2492806233" sldId="279"/>
            <ac:cxnSpMk id="15" creationId="{90206A3B-1CA7-4365-8D4C-16E29007D02C}"/>
          </ac:cxnSpMkLst>
        </pc:cxnChg>
        <pc:cxnChg chg="add mod">
          <ac:chgData name="Thomas Stensitzki" userId="75cafe6b-2f2a-469b-85c4-eec3b9c972ba" providerId="ADAL" clId="{AC98C9C2-90B9-48FF-A46C-646F11BDA22F}" dt="2020-03-28T17:33:04.395" v="3202" actId="1076"/>
          <ac:cxnSpMkLst>
            <pc:docMk/>
            <pc:sldMk cId="2492806233" sldId="279"/>
            <ac:cxnSpMk id="25" creationId="{1F1FEE41-35A8-41C7-B5B6-BC51842B66DC}"/>
          </ac:cxnSpMkLst>
        </pc:cxnChg>
      </pc:sldChg>
      <pc:sldChg chg="del">
        <pc:chgData name="Thomas Stensitzki" userId="75cafe6b-2f2a-469b-85c4-eec3b9c972ba" providerId="ADAL" clId="{AC98C9C2-90B9-48FF-A46C-646F11BDA22F}" dt="2020-03-21T13:57:24.884" v="80" actId="47"/>
        <pc:sldMkLst>
          <pc:docMk/>
          <pc:sldMk cId="2923032497" sldId="279"/>
        </pc:sldMkLst>
      </pc:sldChg>
      <pc:sldChg chg="del">
        <pc:chgData name="Thomas Stensitzki" userId="75cafe6b-2f2a-469b-85c4-eec3b9c972ba" providerId="ADAL" clId="{AC98C9C2-90B9-48FF-A46C-646F11BDA22F}" dt="2020-03-21T13:57:28.455" v="81" actId="47"/>
        <pc:sldMkLst>
          <pc:docMk/>
          <pc:sldMk cId="1611675292" sldId="280"/>
        </pc:sldMkLst>
      </pc:sldChg>
      <pc:sldChg chg="addSp delSp modSp add mod">
        <pc:chgData name="Thomas Stensitzki" userId="75cafe6b-2f2a-469b-85c4-eec3b9c972ba" providerId="ADAL" clId="{AC98C9C2-90B9-48FF-A46C-646F11BDA22F}" dt="2020-03-29T16:30:07.976" v="4479" actId="1076"/>
        <pc:sldMkLst>
          <pc:docMk/>
          <pc:sldMk cId="2480661589" sldId="280"/>
        </pc:sldMkLst>
        <pc:spChg chg="mod">
          <ac:chgData name="Thomas Stensitzki" userId="75cafe6b-2f2a-469b-85c4-eec3b9c972ba" providerId="ADAL" clId="{AC98C9C2-90B9-48FF-A46C-646F11BDA22F}" dt="2020-03-28T17:51:09.701" v="4351"/>
          <ac:spMkLst>
            <pc:docMk/>
            <pc:sldMk cId="2480661589" sldId="280"/>
            <ac:spMk id="4" creationId="{FFDAF3CC-7FFE-4740-B5B5-AB6223D1974C}"/>
          </ac:spMkLst>
        </pc:spChg>
        <pc:spChg chg="add">
          <ac:chgData name="Thomas Stensitzki" userId="75cafe6b-2f2a-469b-85c4-eec3b9c972ba" providerId="ADAL" clId="{AC98C9C2-90B9-48FF-A46C-646F11BDA22F}" dt="2020-03-28T17:50:57.713" v="4350"/>
          <ac:spMkLst>
            <pc:docMk/>
            <pc:sldMk cId="2480661589" sldId="280"/>
            <ac:spMk id="5" creationId="{73001CF7-CF7E-472C-9600-5D19627B9F06}"/>
          </ac:spMkLst>
        </pc:spChg>
        <pc:spChg chg="mod">
          <ac:chgData name="Thomas Stensitzki" userId="75cafe6b-2f2a-469b-85c4-eec3b9c972ba" providerId="ADAL" clId="{AC98C9C2-90B9-48FF-A46C-646F11BDA22F}" dt="2020-03-26T16:42:31.560" v="1567" actId="20577"/>
          <ac:spMkLst>
            <pc:docMk/>
            <pc:sldMk cId="2480661589" sldId="280"/>
            <ac:spMk id="6" creationId="{96787303-A32D-4A24-BBA4-7779D0A86649}"/>
          </ac:spMkLst>
        </pc:spChg>
        <pc:spChg chg="del">
          <ac:chgData name="Thomas Stensitzki" userId="75cafe6b-2f2a-469b-85c4-eec3b9c972ba" providerId="ADAL" clId="{AC98C9C2-90B9-48FF-A46C-646F11BDA22F}" dt="2020-03-28T17:44:52.681" v="4318" actId="478"/>
          <ac:spMkLst>
            <pc:docMk/>
            <pc:sldMk cId="2480661589" sldId="280"/>
            <ac:spMk id="7" creationId="{903C5838-6562-47DF-AD88-DDFD6F93F167}"/>
          </ac:spMkLst>
        </pc:spChg>
        <pc:spChg chg="add">
          <ac:chgData name="Thomas Stensitzki" userId="75cafe6b-2f2a-469b-85c4-eec3b9c972ba" providerId="ADAL" clId="{AC98C9C2-90B9-48FF-A46C-646F11BDA22F}" dt="2020-03-28T17:50:57.713" v="4350"/>
          <ac:spMkLst>
            <pc:docMk/>
            <pc:sldMk cId="2480661589" sldId="280"/>
            <ac:spMk id="8" creationId="{66F9B7BD-AEE1-425F-B8FF-5BA76C81C1E9}"/>
          </ac:spMkLst>
        </pc:spChg>
        <pc:spChg chg="add">
          <ac:chgData name="Thomas Stensitzki" userId="75cafe6b-2f2a-469b-85c4-eec3b9c972ba" providerId="ADAL" clId="{AC98C9C2-90B9-48FF-A46C-646F11BDA22F}" dt="2020-03-28T17:50:57.713" v="4350"/>
          <ac:spMkLst>
            <pc:docMk/>
            <pc:sldMk cId="2480661589" sldId="280"/>
            <ac:spMk id="12" creationId="{F73C2893-116B-43B9-9D89-CBC1509AB305}"/>
          </ac:spMkLst>
        </pc:spChg>
        <pc:grpChg chg="add">
          <ac:chgData name="Thomas Stensitzki" userId="75cafe6b-2f2a-469b-85c4-eec3b9c972ba" providerId="ADAL" clId="{AC98C9C2-90B9-48FF-A46C-646F11BDA22F}" dt="2020-03-28T17:50:57.713" v="4350"/>
          <ac:grpSpMkLst>
            <pc:docMk/>
            <pc:sldMk cId="2480661589" sldId="280"/>
            <ac:grpSpMk id="20" creationId="{272B3986-1853-4B1A-9CCD-E3897B32FB97}"/>
          </ac:grpSpMkLst>
        </pc:grpChg>
        <pc:picChg chg="add">
          <ac:chgData name="Thomas Stensitzki" userId="75cafe6b-2f2a-469b-85c4-eec3b9c972ba" providerId="ADAL" clId="{AC98C9C2-90B9-48FF-A46C-646F11BDA22F}" dt="2020-03-28T17:50:57.713" v="4350"/>
          <ac:picMkLst>
            <pc:docMk/>
            <pc:sldMk cId="2480661589" sldId="280"/>
            <ac:picMk id="9" creationId="{96391BAB-3A12-434C-A61A-FF3AF2609049}"/>
          </ac:picMkLst>
        </pc:picChg>
        <pc:picChg chg="add">
          <ac:chgData name="Thomas Stensitzki" userId="75cafe6b-2f2a-469b-85c4-eec3b9c972ba" providerId="ADAL" clId="{AC98C9C2-90B9-48FF-A46C-646F11BDA22F}" dt="2020-03-28T17:50:57.713" v="4350"/>
          <ac:picMkLst>
            <pc:docMk/>
            <pc:sldMk cId="2480661589" sldId="280"/>
            <ac:picMk id="10" creationId="{95681694-4613-4C55-A9D4-9B7DACDBC598}"/>
          </ac:picMkLst>
        </pc:picChg>
        <pc:picChg chg="add">
          <ac:chgData name="Thomas Stensitzki" userId="75cafe6b-2f2a-469b-85c4-eec3b9c972ba" providerId="ADAL" clId="{AC98C9C2-90B9-48FF-A46C-646F11BDA22F}" dt="2020-03-28T17:50:57.713" v="4350"/>
          <ac:picMkLst>
            <pc:docMk/>
            <pc:sldMk cId="2480661589" sldId="280"/>
            <ac:picMk id="15" creationId="{92BF442E-C43B-44DE-B76A-3BC6B9D04BFF}"/>
          </ac:picMkLst>
        </pc:picChg>
        <pc:picChg chg="add">
          <ac:chgData name="Thomas Stensitzki" userId="75cafe6b-2f2a-469b-85c4-eec3b9c972ba" providerId="ADAL" clId="{AC98C9C2-90B9-48FF-A46C-646F11BDA22F}" dt="2020-03-28T17:50:57.713" v="4350"/>
          <ac:picMkLst>
            <pc:docMk/>
            <pc:sldMk cId="2480661589" sldId="280"/>
            <ac:picMk id="16" creationId="{F5BECDB5-D0AF-447E-B557-B4E0C5E905B4}"/>
          </ac:picMkLst>
        </pc:picChg>
        <pc:picChg chg="add">
          <ac:chgData name="Thomas Stensitzki" userId="75cafe6b-2f2a-469b-85c4-eec3b9c972ba" providerId="ADAL" clId="{AC98C9C2-90B9-48FF-A46C-646F11BDA22F}" dt="2020-03-28T17:50:57.713" v="4350"/>
          <ac:picMkLst>
            <pc:docMk/>
            <pc:sldMk cId="2480661589" sldId="280"/>
            <ac:picMk id="17" creationId="{25896E42-27CF-4F6A-9BE6-8C0D4DE3E4A5}"/>
          </ac:picMkLst>
        </pc:picChg>
        <pc:picChg chg="add">
          <ac:chgData name="Thomas Stensitzki" userId="75cafe6b-2f2a-469b-85c4-eec3b9c972ba" providerId="ADAL" clId="{AC98C9C2-90B9-48FF-A46C-646F11BDA22F}" dt="2020-03-28T17:50:57.713" v="4350"/>
          <ac:picMkLst>
            <pc:docMk/>
            <pc:sldMk cId="2480661589" sldId="280"/>
            <ac:picMk id="18" creationId="{5A855880-9F7A-46C4-A9FB-E318388476AB}"/>
          </ac:picMkLst>
        </pc:picChg>
        <pc:picChg chg="add">
          <ac:chgData name="Thomas Stensitzki" userId="75cafe6b-2f2a-469b-85c4-eec3b9c972ba" providerId="ADAL" clId="{AC98C9C2-90B9-48FF-A46C-646F11BDA22F}" dt="2020-03-28T17:50:57.713" v="4350"/>
          <ac:picMkLst>
            <pc:docMk/>
            <pc:sldMk cId="2480661589" sldId="280"/>
            <ac:picMk id="19" creationId="{CC19D89F-0595-41A2-856D-8D5560F598F5}"/>
          </ac:picMkLst>
        </pc:picChg>
        <pc:picChg chg="add">
          <ac:chgData name="Thomas Stensitzki" userId="75cafe6b-2f2a-469b-85c4-eec3b9c972ba" providerId="ADAL" clId="{AC98C9C2-90B9-48FF-A46C-646F11BDA22F}" dt="2020-03-28T17:50:57.713" v="4350"/>
          <ac:picMkLst>
            <pc:docMk/>
            <pc:sldMk cId="2480661589" sldId="280"/>
            <ac:picMk id="23" creationId="{7213ECAF-43B4-4D48-AC60-7812F56E1E39}"/>
          </ac:picMkLst>
        </pc:picChg>
        <pc:picChg chg="add del">
          <ac:chgData name="Thomas Stensitzki" userId="75cafe6b-2f2a-469b-85c4-eec3b9c972ba" providerId="ADAL" clId="{AC98C9C2-90B9-48FF-A46C-646F11BDA22F}" dt="2020-03-29T16:29:49.636" v="4474" actId="478"/>
          <ac:picMkLst>
            <pc:docMk/>
            <pc:sldMk cId="2480661589" sldId="280"/>
            <ac:picMk id="25" creationId="{2E3C727C-4E2B-4EE8-A6EF-0E061D7F2F03}"/>
          </ac:picMkLst>
        </pc:picChg>
        <pc:picChg chg="add del">
          <ac:chgData name="Thomas Stensitzki" userId="75cafe6b-2f2a-469b-85c4-eec3b9c972ba" providerId="ADAL" clId="{AC98C9C2-90B9-48FF-A46C-646F11BDA22F}" dt="2020-03-29T16:29:52.484" v="4477" actId="478"/>
          <ac:picMkLst>
            <pc:docMk/>
            <pc:sldMk cId="2480661589" sldId="280"/>
            <ac:picMk id="26" creationId="{8B25E634-E6CC-41B2-ABAE-435CAA6F014B}"/>
          </ac:picMkLst>
        </pc:picChg>
        <pc:picChg chg="add mod">
          <ac:chgData name="Thomas Stensitzki" userId="75cafe6b-2f2a-469b-85c4-eec3b9c972ba" providerId="ADAL" clId="{AC98C9C2-90B9-48FF-A46C-646F11BDA22F}" dt="2020-03-29T16:30:07.976" v="4479" actId="1076"/>
          <ac:picMkLst>
            <pc:docMk/>
            <pc:sldMk cId="2480661589" sldId="280"/>
            <ac:picMk id="27" creationId="{93F98F2B-C06B-43B0-A967-D4F3C0FF9AA5}"/>
          </ac:picMkLst>
        </pc:picChg>
        <pc:picChg chg="add del">
          <ac:chgData name="Thomas Stensitzki" userId="75cafe6b-2f2a-469b-85c4-eec3b9c972ba" providerId="ADAL" clId="{AC98C9C2-90B9-48FF-A46C-646F11BDA22F}" dt="2020-03-29T16:29:51.619" v="4476" actId="478"/>
          <ac:picMkLst>
            <pc:docMk/>
            <pc:sldMk cId="2480661589" sldId="280"/>
            <ac:picMk id="29" creationId="{AF04F16C-5277-4B0C-A8B5-2B1505EC1585}"/>
          </ac:picMkLst>
        </pc:picChg>
        <pc:cxnChg chg="add">
          <ac:chgData name="Thomas Stensitzki" userId="75cafe6b-2f2a-469b-85c4-eec3b9c972ba" providerId="ADAL" clId="{AC98C9C2-90B9-48FF-A46C-646F11BDA22F}" dt="2020-03-28T17:50:57.713" v="4350"/>
          <ac:cxnSpMkLst>
            <pc:docMk/>
            <pc:sldMk cId="2480661589" sldId="280"/>
            <ac:cxnSpMk id="11" creationId="{6C2A9995-CCAA-4508-940D-9EB2C1252A08}"/>
          </ac:cxnSpMkLst>
        </pc:cxnChg>
        <pc:cxnChg chg="add">
          <ac:chgData name="Thomas Stensitzki" userId="75cafe6b-2f2a-469b-85c4-eec3b9c972ba" providerId="ADAL" clId="{AC98C9C2-90B9-48FF-A46C-646F11BDA22F}" dt="2020-03-28T17:50:57.713" v="4350"/>
          <ac:cxnSpMkLst>
            <pc:docMk/>
            <pc:sldMk cId="2480661589" sldId="280"/>
            <ac:cxnSpMk id="13" creationId="{DB45D903-EEA9-4A9A-B106-3AC8F1616999}"/>
          </ac:cxnSpMkLst>
        </pc:cxnChg>
        <pc:cxnChg chg="add">
          <ac:chgData name="Thomas Stensitzki" userId="75cafe6b-2f2a-469b-85c4-eec3b9c972ba" providerId="ADAL" clId="{AC98C9C2-90B9-48FF-A46C-646F11BDA22F}" dt="2020-03-28T17:50:57.713" v="4350"/>
          <ac:cxnSpMkLst>
            <pc:docMk/>
            <pc:sldMk cId="2480661589" sldId="280"/>
            <ac:cxnSpMk id="14" creationId="{FC74EEF0-A57B-492B-9995-3BC0B6023C15}"/>
          </ac:cxnSpMkLst>
        </pc:cxnChg>
        <pc:cxnChg chg="add mod">
          <ac:chgData name="Thomas Stensitzki" userId="75cafe6b-2f2a-469b-85c4-eec3b9c972ba" providerId="ADAL" clId="{AC98C9C2-90B9-48FF-A46C-646F11BDA22F}" dt="2020-03-29T16:30:06.043" v="4478" actId="14100"/>
          <ac:cxnSpMkLst>
            <pc:docMk/>
            <pc:sldMk cId="2480661589" sldId="280"/>
            <ac:cxnSpMk id="24" creationId="{2DC8E1B7-9F82-4FE5-AE1F-5A8927039CE6}"/>
          </ac:cxnSpMkLst>
        </pc:cxnChg>
        <pc:cxnChg chg="add del mod">
          <ac:chgData name="Thomas Stensitzki" userId="75cafe6b-2f2a-469b-85c4-eec3b9c972ba" providerId="ADAL" clId="{AC98C9C2-90B9-48FF-A46C-646F11BDA22F}" dt="2020-03-29T16:29:50.698" v="4475" actId="478"/>
          <ac:cxnSpMkLst>
            <pc:docMk/>
            <pc:sldMk cId="2480661589" sldId="280"/>
            <ac:cxnSpMk id="28" creationId="{653E52F9-C0AE-4D91-AFB4-D5B1955BAD11}"/>
          </ac:cxnSpMkLst>
        </pc:cxnChg>
      </pc:sldChg>
      <pc:sldChg chg="add">
        <pc:chgData name="Thomas Stensitzki" userId="75cafe6b-2f2a-469b-85c4-eec3b9c972ba" providerId="ADAL" clId="{AC98C9C2-90B9-48FF-A46C-646F11BDA22F}" dt="2020-03-26T16:43:33.423" v="1592"/>
        <pc:sldMkLst>
          <pc:docMk/>
          <pc:sldMk cId="2545093358" sldId="281"/>
        </pc:sldMkLst>
      </pc:sldChg>
      <pc:sldChg chg="addSp delSp modSp add mod ord modClrScheme chgLayout">
        <pc:chgData name="Thomas Stensitzki" userId="75cafe6b-2f2a-469b-85c4-eec3b9c972ba" providerId="ADAL" clId="{AC98C9C2-90B9-48FF-A46C-646F11BDA22F}" dt="2020-03-27T08:45:16.429" v="2053"/>
        <pc:sldMkLst>
          <pc:docMk/>
          <pc:sldMk cId="1883776818" sldId="282"/>
        </pc:sldMkLst>
        <pc:spChg chg="add mod">
          <ac:chgData name="Thomas Stensitzki" userId="75cafe6b-2f2a-469b-85c4-eec3b9c972ba" providerId="ADAL" clId="{AC98C9C2-90B9-48FF-A46C-646F11BDA22F}" dt="2020-03-27T08:42:16.785" v="1941" actId="20577"/>
          <ac:spMkLst>
            <pc:docMk/>
            <pc:sldMk cId="1883776818" sldId="282"/>
            <ac:spMk id="2" creationId="{47A55F88-56A8-464F-9166-8E413A95FC18}"/>
          </ac:spMkLst>
        </pc:spChg>
        <pc:spChg chg="add del mod ord">
          <ac:chgData name="Thomas Stensitzki" userId="75cafe6b-2f2a-469b-85c4-eec3b9c972ba" providerId="ADAL" clId="{AC98C9C2-90B9-48FF-A46C-646F11BDA22F}" dt="2020-03-26T16:45:57.888" v="1651" actId="478"/>
          <ac:spMkLst>
            <pc:docMk/>
            <pc:sldMk cId="1883776818" sldId="282"/>
            <ac:spMk id="2" creationId="{9C4760F7-A946-42FB-8E3F-17FF547A56F1}"/>
          </ac:spMkLst>
        </pc:spChg>
        <pc:spChg chg="del mod ord">
          <ac:chgData name="Thomas Stensitzki" userId="75cafe6b-2f2a-469b-85c4-eec3b9c972ba" providerId="ADAL" clId="{AC98C9C2-90B9-48FF-A46C-646F11BDA22F}" dt="2020-03-26T16:45:40.807" v="1650" actId="700"/>
          <ac:spMkLst>
            <pc:docMk/>
            <pc:sldMk cId="1883776818" sldId="282"/>
            <ac:spMk id="4" creationId="{FFDAF3CC-7FFE-4740-B5B5-AB6223D1974C}"/>
          </ac:spMkLst>
        </pc:spChg>
        <pc:spChg chg="mod ord">
          <ac:chgData name="Thomas Stensitzki" userId="75cafe6b-2f2a-469b-85c4-eec3b9c972ba" providerId="ADAL" clId="{AC98C9C2-90B9-48FF-A46C-646F11BDA22F}" dt="2020-03-26T17:02:06.798" v="1786" actId="6549"/>
          <ac:spMkLst>
            <pc:docMk/>
            <pc:sldMk cId="1883776818" sldId="282"/>
            <ac:spMk id="6" creationId="{96787303-A32D-4A24-BBA4-7779D0A86649}"/>
          </ac:spMkLst>
        </pc:spChg>
        <pc:spChg chg="del">
          <ac:chgData name="Thomas Stensitzki" userId="75cafe6b-2f2a-469b-85c4-eec3b9c972ba" providerId="ADAL" clId="{AC98C9C2-90B9-48FF-A46C-646F11BDA22F}" dt="2020-03-26T16:45:40.807" v="1650" actId="700"/>
          <ac:spMkLst>
            <pc:docMk/>
            <pc:sldMk cId="1883776818" sldId="282"/>
            <ac:spMk id="7" creationId="{903C5838-6562-47DF-AD88-DDFD6F93F167}"/>
          </ac:spMkLst>
        </pc:spChg>
        <pc:graphicFrameChg chg="add mod modGraphic">
          <ac:chgData name="Thomas Stensitzki" userId="75cafe6b-2f2a-469b-85c4-eec3b9c972ba" providerId="ADAL" clId="{AC98C9C2-90B9-48FF-A46C-646F11BDA22F}" dt="2020-03-27T08:45:16.429" v="2053"/>
          <ac:graphicFrameMkLst>
            <pc:docMk/>
            <pc:sldMk cId="1883776818" sldId="282"/>
            <ac:graphicFrameMk id="3" creationId="{D9786CDA-2C6A-4714-831E-66CD492C4520}"/>
          </ac:graphicFrameMkLst>
        </pc:graphicFrameChg>
      </pc:sldChg>
      <pc:sldChg chg="addSp delSp modSp add mod">
        <pc:chgData name="Thomas Stensitzki" userId="75cafe6b-2f2a-469b-85c4-eec3b9c972ba" providerId="ADAL" clId="{AC98C9C2-90B9-48FF-A46C-646F11BDA22F}" dt="2020-03-28T17:53:37.498" v="4471" actId="113"/>
        <pc:sldMkLst>
          <pc:docMk/>
          <pc:sldMk cId="2019584509" sldId="283"/>
        </pc:sldMkLst>
        <pc:spChg chg="mod">
          <ac:chgData name="Thomas Stensitzki" userId="75cafe6b-2f2a-469b-85c4-eec3b9c972ba" providerId="ADAL" clId="{AC98C9C2-90B9-48FF-A46C-646F11BDA22F}" dt="2020-03-28T17:53:37.498" v="4471" actId="113"/>
          <ac:spMkLst>
            <pc:docMk/>
            <pc:sldMk cId="2019584509" sldId="283"/>
            <ac:spMk id="4" creationId="{FFDAF3CC-7FFE-4740-B5B5-AB6223D1974C}"/>
          </ac:spMkLst>
        </pc:spChg>
        <pc:spChg chg="mod">
          <ac:chgData name="Thomas Stensitzki" userId="75cafe6b-2f2a-469b-85c4-eec3b9c972ba" providerId="ADAL" clId="{AC98C9C2-90B9-48FF-A46C-646F11BDA22F}" dt="2020-03-28T17:33:41.276" v="3209" actId="6549"/>
          <ac:spMkLst>
            <pc:docMk/>
            <pc:sldMk cId="2019584509" sldId="283"/>
            <ac:spMk id="6" creationId="{96787303-A32D-4A24-BBA4-7779D0A86649}"/>
          </ac:spMkLst>
        </pc:spChg>
        <pc:grpChg chg="mod">
          <ac:chgData name="Thomas Stensitzki" userId="75cafe6b-2f2a-469b-85c4-eec3b9c972ba" providerId="ADAL" clId="{AC98C9C2-90B9-48FF-A46C-646F11BDA22F}" dt="2020-03-28T17:45:30.108" v="4327" actId="1076"/>
          <ac:grpSpMkLst>
            <pc:docMk/>
            <pc:sldMk cId="2019584509" sldId="283"/>
            <ac:grpSpMk id="22" creationId="{5439EC96-C8F0-4573-A967-2C43497B4583}"/>
          </ac:grpSpMkLst>
        </pc:grpChg>
        <pc:picChg chg="add mod ord">
          <ac:chgData name="Thomas Stensitzki" userId="75cafe6b-2f2a-469b-85c4-eec3b9c972ba" providerId="ADAL" clId="{AC98C9C2-90B9-48FF-A46C-646F11BDA22F}" dt="2020-03-28T17:49:33.957" v="4339" actId="1076"/>
          <ac:picMkLst>
            <pc:docMk/>
            <pc:sldMk cId="2019584509" sldId="283"/>
            <ac:picMk id="11" creationId="{FEAFD6AD-320A-4FD0-886F-52824F4056FE}"/>
          </ac:picMkLst>
        </pc:picChg>
        <pc:picChg chg="add del">
          <ac:chgData name="Thomas Stensitzki" userId="75cafe6b-2f2a-469b-85c4-eec3b9c972ba" providerId="ADAL" clId="{AC98C9C2-90B9-48FF-A46C-646F11BDA22F}" dt="2020-03-28T17:48:47.651" v="4330"/>
          <ac:picMkLst>
            <pc:docMk/>
            <pc:sldMk cId="2019584509" sldId="283"/>
            <ac:picMk id="20" creationId="{3E7DB1B7-DFDF-49AF-94DA-182DE27D4E05}"/>
          </ac:picMkLst>
        </pc:picChg>
        <pc:picChg chg="add mod ord">
          <ac:chgData name="Thomas Stensitzki" userId="75cafe6b-2f2a-469b-85c4-eec3b9c972ba" providerId="ADAL" clId="{AC98C9C2-90B9-48FF-A46C-646F11BDA22F}" dt="2020-03-28T17:49:28.542" v="4338" actId="1076"/>
          <ac:picMkLst>
            <pc:docMk/>
            <pc:sldMk cId="2019584509" sldId="283"/>
            <ac:picMk id="26" creationId="{7DD04CB4-F2D8-4870-81D9-F5475D331D9E}"/>
          </ac:picMkLst>
        </pc:picChg>
        <pc:picChg chg="add mod">
          <ac:chgData name="Thomas Stensitzki" userId="75cafe6b-2f2a-469b-85c4-eec3b9c972ba" providerId="ADAL" clId="{AC98C9C2-90B9-48FF-A46C-646F11BDA22F}" dt="2020-03-28T17:50:11.469" v="4347" actId="1076"/>
          <ac:picMkLst>
            <pc:docMk/>
            <pc:sldMk cId="2019584509" sldId="283"/>
            <ac:picMk id="27" creationId="{D90D5CA5-E469-46B7-BD48-985F29553097}"/>
          </ac:picMkLst>
        </pc:picChg>
        <pc:picChg chg="add mod">
          <ac:chgData name="Thomas Stensitzki" userId="75cafe6b-2f2a-469b-85c4-eec3b9c972ba" providerId="ADAL" clId="{AC98C9C2-90B9-48FF-A46C-646F11BDA22F}" dt="2020-03-28T17:50:27.493" v="4349" actId="1076"/>
          <ac:picMkLst>
            <pc:docMk/>
            <pc:sldMk cId="2019584509" sldId="283"/>
            <ac:picMk id="30" creationId="{55F889BE-39A0-4FD7-BF04-14C69B262B95}"/>
          </ac:picMkLst>
        </pc:picChg>
        <pc:cxnChg chg="mod">
          <ac:chgData name="Thomas Stensitzki" userId="75cafe6b-2f2a-469b-85c4-eec3b9c972ba" providerId="ADAL" clId="{AC98C9C2-90B9-48FF-A46C-646F11BDA22F}" dt="2020-03-28T17:45:20.589" v="4326" actId="14100"/>
          <ac:cxnSpMkLst>
            <pc:docMk/>
            <pc:sldMk cId="2019584509" sldId="283"/>
            <ac:cxnSpMk id="25" creationId="{1F1FEE41-35A8-41C7-B5B6-BC51842B66DC}"/>
          </ac:cxnSpMkLst>
        </pc:cxnChg>
        <pc:cxnChg chg="add mod">
          <ac:chgData name="Thomas Stensitzki" userId="75cafe6b-2f2a-469b-85c4-eec3b9c972ba" providerId="ADAL" clId="{AC98C9C2-90B9-48FF-A46C-646F11BDA22F}" dt="2020-03-28T17:50:06.371" v="4345"/>
          <ac:cxnSpMkLst>
            <pc:docMk/>
            <pc:sldMk cId="2019584509" sldId="283"/>
            <ac:cxnSpMk id="28" creationId="{1C2233DE-5D9D-495D-A25C-AF851ED9669F}"/>
          </ac:cxnSpMkLst>
        </pc:cxnChg>
      </pc:sldChg>
      <pc:sldChg chg="modSp new mod ord">
        <pc:chgData name="Thomas Stensitzki" userId="75cafe6b-2f2a-469b-85c4-eec3b9c972ba" providerId="ADAL" clId="{AC98C9C2-90B9-48FF-A46C-646F11BDA22F}" dt="2020-03-29T16:33:55.034" v="4483" actId="20577"/>
        <pc:sldMkLst>
          <pc:docMk/>
          <pc:sldMk cId="355652986" sldId="284"/>
        </pc:sldMkLst>
        <pc:spChg chg="mod">
          <ac:chgData name="Thomas Stensitzki" userId="75cafe6b-2f2a-469b-85c4-eec3b9c972ba" providerId="ADAL" clId="{AC98C9C2-90B9-48FF-A46C-646F11BDA22F}" dt="2020-03-28T17:44:32.911" v="4317" actId="20577"/>
          <ac:spMkLst>
            <pc:docMk/>
            <pc:sldMk cId="355652986" sldId="284"/>
            <ac:spMk id="2" creationId="{140C509D-7F64-4179-A20A-6DE0C3DB98A6}"/>
          </ac:spMkLst>
        </pc:spChg>
        <pc:spChg chg="mod">
          <ac:chgData name="Thomas Stensitzki" userId="75cafe6b-2f2a-469b-85c4-eec3b9c972ba" providerId="ADAL" clId="{AC98C9C2-90B9-48FF-A46C-646F11BDA22F}" dt="2020-03-29T16:33:55.034" v="4483" actId="20577"/>
          <ac:spMkLst>
            <pc:docMk/>
            <pc:sldMk cId="355652986" sldId="284"/>
            <ac:spMk id="3" creationId="{76141CF1-ABE3-495F-9335-CBA865DB8CB1}"/>
          </ac:spMkLst>
        </pc:spChg>
      </pc:sldChg>
      <pc:sldChg chg="modSp add mod">
        <pc:chgData name="Thomas Stensitzki" userId="75cafe6b-2f2a-469b-85c4-eec3b9c972ba" providerId="ADAL" clId="{AC98C9C2-90B9-48FF-A46C-646F11BDA22F}" dt="2020-03-29T16:43:06.339" v="5076" actId="20577"/>
        <pc:sldMkLst>
          <pc:docMk/>
          <pc:sldMk cId="1446810967" sldId="285"/>
        </pc:sldMkLst>
        <pc:spChg chg="mod">
          <ac:chgData name="Thomas Stensitzki" userId="75cafe6b-2f2a-469b-85c4-eec3b9c972ba" providerId="ADAL" clId="{AC98C9C2-90B9-48FF-A46C-646F11BDA22F}" dt="2020-03-29T16:37:59.230" v="4496" actId="20577"/>
          <ac:spMkLst>
            <pc:docMk/>
            <pc:sldMk cId="1446810967" sldId="285"/>
            <ac:spMk id="2" creationId="{140C509D-7F64-4179-A20A-6DE0C3DB98A6}"/>
          </ac:spMkLst>
        </pc:spChg>
        <pc:spChg chg="mod">
          <ac:chgData name="Thomas Stensitzki" userId="75cafe6b-2f2a-469b-85c4-eec3b9c972ba" providerId="ADAL" clId="{AC98C9C2-90B9-48FF-A46C-646F11BDA22F}" dt="2020-03-29T16:43:06.339" v="5076" actId="20577"/>
          <ac:spMkLst>
            <pc:docMk/>
            <pc:sldMk cId="1446810967" sldId="285"/>
            <ac:spMk id="3" creationId="{76141CF1-ABE3-495F-9335-CBA865DB8CB1}"/>
          </ac:spMkLst>
        </pc:spChg>
      </pc:sldChg>
      <pc:sldMasterChg chg="modSp modSldLayout">
        <pc:chgData name="Thomas Stensitzki" userId="75cafe6b-2f2a-469b-85c4-eec3b9c972ba" providerId="ADAL" clId="{AC98C9C2-90B9-48FF-A46C-646F11BDA22F}" dt="2020-03-28T17:25:26.235" v="2813" actId="255"/>
        <pc:sldMasterMkLst>
          <pc:docMk/>
          <pc:sldMasterMk cId="247768031" sldId="2147483648"/>
        </pc:sldMasterMkLst>
        <pc:spChg chg="mod">
          <ac:chgData name="Thomas Stensitzki" userId="75cafe6b-2f2a-469b-85c4-eec3b9c972ba" providerId="ADAL" clId="{AC98C9C2-90B9-48FF-A46C-646F11BDA22F}" dt="2020-03-28T17:25:26.235" v="2813" actId="255"/>
          <ac:spMkLst>
            <pc:docMk/>
            <pc:sldMasterMk cId="247768031" sldId="2147483648"/>
            <ac:spMk id="3" creationId="{FF9D0695-0ED9-458F-A74E-31CE25690156}"/>
          </ac:spMkLst>
        </pc:spChg>
        <pc:sldLayoutChg chg="modSp">
          <pc:chgData name="Thomas Stensitzki" userId="75cafe6b-2f2a-469b-85c4-eec3b9c972ba" providerId="ADAL" clId="{AC98C9C2-90B9-48FF-A46C-646F11BDA22F}" dt="2020-03-28T17:23:57.908" v="2797" actId="255"/>
          <pc:sldLayoutMkLst>
            <pc:docMk/>
            <pc:sldMasterMk cId="247768031" sldId="2147483648"/>
            <pc:sldLayoutMk cId="1101272467" sldId="2147483650"/>
          </pc:sldLayoutMkLst>
          <pc:spChg chg="mod">
            <ac:chgData name="Thomas Stensitzki" userId="75cafe6b-2f2a-469b-85c4-eec3b9c972ba" providerId="ADAL" clId="{AC98C9C2-90B9-48FF-A46C-646F11BDA22F}" dt="2020-03-28T17:23:57.908" v="2797" actId="255"/>
            <ac:spMkLst>
              <pc:docMk/>
              <pc:sldMasterMk cId="247768031" sldId="2147483648"/>
              <pc:sldLayoutMk cId="1101272467" sldId="2147483650"/>
              <ac:spMk id="3" creationId="{1C7BFC74-3BF6-4ACD-AB66-D3A493FE5B32}"/>
            </ac:spMkLst>
          </pc:spChg>
        </pc:sldLayoutChg>
        <pc:sldLayoutChg chg="modSp">
          <pc:chgData name="Thomas Stensitzki" userId="75cafe6b-2f2a-469b-85c4-eec3b9c972ba" providerId="ADAL" clId="{AC98C9C2-90B9-48FF-A46C-646F11BDA22F}" dt="2020-03-28T17:23:40.619" v="2794" actId="255"/>
          <pc:sldLayoutMkLst>
            <pc:docMk/>
            <pc:sldMasterMk cId="247768031" sldId="2147483648"/>
            <pc:sldLayoutMk cId="3463841358" sldId="2147483652"/>
          </pc:sldLayoutMkLst>
          <pc:spChg chg="mod">
            <ac:chgData name="Thomas Stensitzki" userId="75cafe6b-2f2a-469b-85c4-eec3b9c972ba" providerId="ADAL" clId="{AC98C9C2-90B9-48FF-A46C-646F11BDA22F}" dt="2020-03-28T17:23:39.396" v="2793" actId="255"/>
            <ac:spMkLst>
              <pc:docMk/>
              <pc:sldMasterMk cId="247768031" sldId="2147483648"/>
              <pc:sldLayoutMk cId="3463841358" sldId="2147483652"/>
              <ac:spMk id="3" creationId="{601984A9-AB75-4052-9B57-7F39BFD2671D}"/>
            </ac:spMkLst>
          </pc:spChg>
          <pc:spChg chg="mod">
            <ac:chgData name="Thomas Stensitzki" userId="75cafe6b-2f2a-469b-85c4-eec3b9c972ba" providerId="ADAL" clId="{AC98C9C2-90B9-48FF-A46C-646F11BDA22F}" dt="2020-03-28T17:23:40.619" v="2794" actId="255"/>
            <ac:spMkLst>
              <pc:docMk/>
              <pc:sldMasterMk cId="247768031" sldId="2147483648"/>
              <pc:sldLayoutMk cId="3463841358" sldId="2147483652"/>
              <ac:spMk id="4" creationId="{D19EA064-5ED5-413F-9DB6-A071F63CDF12}"/>
            </ac:spMkLst>
          </pc:spChg>
        </pc:sldLayoutChg>
        <pc:sldLayoutChg chg="modSp">
          <pc:chgData name="Thomas Stensitzki" userId="75cafe6b-2f2a-469b-85c4-eec3b9c972ba" providerId="ADAL" clId="{AC98C9C2-90B9-48FF-A46C-646F11BDA22F}" dt="2020-03-28T17:24:53.338" v="2809" actId="255"/>
          <pc:sldLayoutMkLst>
            <pc:docMk/>
            <pc:sldMasterMk cId="247768031" sldId="2147483648"/>
            <pc:sldLayoutMk cId="4159535620" sldId="2147483653"/>
          </pc:sldLayoutMkLst>
          <pc:spChg chg="mod">
            <ac:chgData name="Thomas Stensitzki" userId="75cafe6b-2f2a-469b-85c4-eec3b9c972ba" providerId="ADAL" clId="{AC98C9C2-90B9-48FF-A46C-646F11BDA22F}" dt="2020-03-28T17:24:51.281" v="2808" actId="255"/>
            <ac:spMkLst>
              <pc:docMk/>
              <pc:sldMasterMk cId="247768031" sldId="2147483648"/>
              <pc:sldLayoutMk cId="4159535620" sldId="2147483653"/>
              <ac:spMk id="3" creationId="{93FDC2F6-2C80-4381-A71D-E620B64EB241}"/>
            </ac:spMkLst>
          </pc:spChg>
          <pc:spChg chg="mod">
            <ac:chgData name="Thomas Stensitzki" userId="75cafe6b-2f2a-469b-85c4-eec3b9c972ba" providerId="ADAL" clId="{AC98C9C2-90B9-48FF-A46C-646F11BDA22F}" dt="2020-03-28T17:24:40.405" v="2806" actId="255"/>
            <ac:spMkLst>
              <pc:docMk/>
              <pc:sldMasterMk cId="247768031" sldId="2147483648"/>
              <pc:sldLayoutMk cId="4159535620" sldId="2147483653"/>
              <ac:spMk id="4" creationId="{F4C1A3A2-6176-4862-8B07-B8EE219F936F}"/>
            </ac:spMkLst>
          </pc:spChg>
          <pc:spChg chg="mod">
            <ac:chgData name="Thomas Stensitzki" userId="75cafe6b-2f2a-469b-85c4-eec3b9c972ba" providerId="ADAL" clId="{AC98C9C2-90B9-48FF-A46C-646F11BDA22F}" dt="2020-03-28T17:24:53.338" v="2809" actId="255"/>
            <ac:spMkLst>
              <pc:docMk/>
              <pc:sldMasterMk cId="247768031" sldId="2147483648"/>
              <pc:sldLayoutMk cId="4159535620" sldId="2147483653"/>
              <ac:spMk id="5" creationId="{C0A9D3F3-C64D-4CE1-9BE5-5649B7D7B63C}"/>
            </ac:spMkLst>
          </pc:spChg>
          <pc:spChg chg="mod">
            <ac:chgData name="Thomas Stensitzki" userId="75cafe6b-2f2a-469b-85c4-eec3b9c972ba" providerId="ADAL" clId="{AC98C9C2-90B9-48FF-A46C-646F11BDA22F}" dt="2020-03-28T17:24:41.612" v="2807" actId="255"/>
            <ac:spMkLst>
              <pc:docMk/>
              <pc:sldMasterMk cId="247768031" sldId="2147483648"/>
              <pc:sldLayoutMk cId="4159535620" sldId="2147483653"/>
              <ac:spMk id="6" creationId="{8E487E2E-0162-4CC1-8CA9-45679B2A820B}"/>
            </ac:spMkLst>
          </pc:spChg>
        </pc:sldLayoutChg>
      </pc:sldMasterChg>
    </pc:docChg>
  </pc:docChgLst>
  <pc:docChgLst>
    <pc:chgData name="Thomas Stensitzki" userId="75cafe6b-2f2a-469b-85c4-eec3b9c972ba" providerId="ADAL" clId="{F338BDC2-3B44-4CC7-956C-2FE88889108A}"/>
    <pc:docChg chg="undo custSel addSld delSld modSld sldOrd modSection">
      <pc:chgData name="Thomas Stensitzki" userId="75cafe6b-2f2a-469b-85c4-eec3b9c972ba" providerId="ADAL" clId="{F338BDC2-3B44-4CC7-956C-2FE88889108A}" dt="2020-12-13T12:53:07.844" v="3938" actId="113"/>
      <pc:docMkLst>
        <pc:docMk/>
      </pc:docMkLst>
      <pc:sldChg chg="modSp mod">
        <pc:chgData name="Thomas Stensitzki" userId="75cafe6b-2f2a-469b-85c4-eec3b9c972ba" providerId="ADAL" clId="{F338BDC2-3B44-4CC7-956C-2FE88889108A}" dt="2020-12-10T08:47:15.992" v="6" actId="20577"/>
        <pc:sldMkLst>
          <pc:docMk/>
          <pc:sldMk cId="1331178014" sldId="256"/>
        </pc:sldMkLst>
        <pc:spChg chg="mod">
          <ac:chgData name="Thomas Stensitzki" userId="75cafe6b-2f2a-469b-85c4-eec3b9c972ba" providerId="ADAL" clId="{F338BDC2-3B44-4CC7-956C-2FE88889108A}" dt="2020-12-10T08:47:08.936" v="2" actId="20577"/>
          <ac:spMkLst>
            <pc:docMk/>
            <pc:sldMk cId="1331178014" sldId="256"/>
            <ac:spMk id="2" creationId="{E137B2CB-D047-404D-B8CC-C662AA78F69E}"/>
          </ac:spMkLst>
        </pc:spChg>
        <pc:spChg chg="mod">
          <ac:chgData name="Thomas Stensitzki" userId="75cafe6b-2f2a-469b-85c4-eec3b9c972ba" providerId="ADAL" clId="{F338BDC2-3B44-4CC7-956C-2FE88889108A}" dt="2020-12-10T08:47:15.992" v="6" actId="20577"/>
          <ac:spMkLst>
            <pc:docMk/>
            <pc:sldMk cId="1331178014" sldId="256"/>
            <ac:spMk id="3" creationId="{FD1EE5AE-531F-46B2-BC77-BEC77D90CE70}"/>
          </ac:spMkLst>
        </pc:spChg>
      </pc:sldChg>
      <pc:sldChg chg="modSp mod">
        <pc:chgData name="Thomas Stensitzki" userId="75cafe6b-2f2a-469b-85c4-eec3b9c972ba" providerId="ADAL" clId="{F338BDC2-3B44-4CC7-956C-2FE88889108A}" dt="2020-12-10T08:49:39.588" v="112" actId="20577"/>
        <pc:sldMkLst>
          <pc:docMk/>
          <pc:sldMk cId="2213403937" sldId="259"/>
        </pc:sldMkLst>
        <pc:spChg chg="mod">
          <ac:chgData name="Thomas Stensitzki" userId="75cafe6b-2f2a-469b-85c4-eec3b9c972ba" providerId="ADAL" clId="{F338BDC2-3B44-4CC7-956C-2FE88889108A}" dt="2020-12-10T08:49:39.588" v="112" actId="20577"/>
          <ac:spMkLst>
            <pc:docMk/>
            <pc:sldMk cId="2213403937" sldId="259"/>
            <ac:spMk id="3" creationId="{929F043B-C787-47A9-8373-4D8587EE4FEA}"/>
          </ac:spMkLst>
        </pc:spChg>
        <pc:spChg chg="mod">
          <ac:chgData name="Thomas Stensitzki" userId="75cafe6b-2f2a-469b-85c4-eec3b9c972ba" providerId="ADAL" clId="{F338BDC2-3B44-4CC7-956C-2FE88889108A}" dt="2020-12-10T08:49:26.977" v="100" actId="6549"/>
          <ac:spMkLst>
            <pc:docMk/>
            <pc:sldMk cId="2213403937" sldId="259"/>
            <ac:spMk id="4" creationId="{1D2D1BF2-DBEA-44D1-B318-6E31D982F99B}"/>
          </ac:spMkLst>
        </pc:spChg>
      </pc:sldChg>
      <pc:sldChg chg="modSp del mod">
        <pc:chgData name="Thomas Stensitzki" userId="75cafe6b-2f2a-469b-85c4-eec3b9c972ba" providerId="ADAL" clId="{F338BDC2-3B44-4CC7-956C-2FE88889108A}" dt="2020-12-13T12:27:29.857" v="3937" actId="2696"/>
        <pc:sldMkLst>
          <pc:docMk/>
          <pc:sldMk cId="2987849416" sldId="261"/>
        </pc:sldMkLst>
        <pc:spChg chg="mod">
          <ac:chgData name="Thomas Stensitzki" userId="75cafe6b-2f2a-469b-85c4-eec3b9c972ba" providerId="ADAL" clId="{F338BDC2-3B44-4CC7-956C-2FE88889108A}" dt="2020-12-10T08:49:01.444" v="96" actId="6549"/>
          <ac:spMkLst>
            <pc:docMk/>
            <pc:sldMk cId="2987849416" sldId="261"/>
            <ac:spMk id="3" creationId="{00000000-0000-0000-0000-000000000000}"/>
          </ac:spMkLst>
        </pc:spChg>
      </pc:sldChg>
      <pc:sldChg chg="modSp mod">
        <pc:chgData name="Thomas Stensitzki" userId="75cafe6b-2f2a-469b-85c4-eec3b9c972ba" providerId="ADAL" clId="{F338BDC2-3B44-4CC7-956C-2FE88889108A}" dt="2020-12-13T11:56:06.282" v="3741" actId="6549"/>
        <pc:sldMkLst>
          <pc:docMk/>
          <pc:sldMk cId="1916615734" sldId="274"/>
        </pc:sldMkLst>
        <pc:spChg chg="mod">
          <ac:chgData name="Thomas Stensitzki" userId="75cafe6b-2f2a-469b-85c4-eec3b9c972ba" providerId="ADAL" clId="{F338BDC2-3B44-4CC7-956C-2FE88889108A}" dt="2020-12-10T08:47:50.765" v="8"/>
          <ac:spMkLst>
            <pc:docMk/>
            <pc:sldMk cId="1916615734" sldId="274"/>
            <ac:spMk id="4" creationId="{70E8EAA7-76C4-4D2B-81CE-57CA4627D39E}"/>
          </ac:spMkLst>
        </pc:spChg>
        <pc:spChg chg="mod">
          <ac:chgData name="Thomas Stensitzki" userId="75cafe6b-2f2a-469b-85c4-eec3b9c972ba" providerId="ADAL" clId="{F338BDC2-3B44-4CC7-956C-2FE88889108A}" dt="2020-12-13T11:56:06.282" v="3741" actId="6549"/>
          <ac:spMkLst>
            <pc:docMk/>
            <pc:sldMk cId="1916615734" sldId="274"/>
            <ac:spMk id="5" creationId="{94140262-613E-47E0-8110-F2C2EDE2EFD9}"/>
          </ac:spMkLst>
        </pc:spChg>
      </pc:sldChg>
      <pc:sldChg chg="modSp mod modAnim">
        <pc:chgData name="Thomas Stensitzki" userId="75cafe6b-2f2a-469b-85c4-eec3b9c972ba" providerId="ADAL" clId="{F338BDC2-3B44-4CC7-956C-2FE88889108A}" dt="2020-12-13T12:53:07.844" v="3938" actId="113"/>
        <pc:sldMkLst>
          <pc:docMk/>
          <pc:sldMk cId="1471672440" sldId="277"/>
        </pc:sldMkLst>
        <pc:spChg chg="mod">
          <ac:chgData name="Thomas Stensitzki" userId="75cafe6b-2f2a-469b-85c4-eec3b9c972ba" providerId="ADAL" clId="{F338BDC2-3B44-4CC7-956C-2FE88889108A}" dt="2020-12-13T09:43:29.421" v="225" actId="20577"/>
          <ac:spMkLst>
            <pc:docMk/>
            <pc:sldMk cId="1471672440" sldId="277"/>
            <ac:spMk id="7" creationId="{DECEB6B6-B5D5-4B5B-BBF3-49FAE1F90F1F}"/>
          </ac:spMkLst>
        </pc:spChg>
        <pc:spChg chg="mod">
          <ac:chgData name="Thomas Stensitzki" userId="75cafe6b-2f2a-469b-85c4-eec3b9c972ba" providerId="ADAL" clId="{F338BDC2-3B44-4CC7-956C-2FE88889108A}" dt="2020-12-13T12:53:07.844" v="3938" actId="113"/>
          <ac:spMkLst>
            <pc:docMk/>
            <pc:sldMk cId="1471672440" sldId="277"/>
            <ac:spMk id="8" creationId="{B6D3E901-AF0C-4750-A333-85A65F610443}"/>
          </ac:spMkLst>
        </pc:spChg>
      </pc:sldChg>
      <pc:sldChg chg="del">
        <pc:chgData name="Thomas Stensitzki" userId="75cafe6b-2f2a-469b-85c4-eec3b9c972ba" providerId="ADAL" clId="{F338BDC2-3B44-4CC7-956C-2FE88889108A}" dt="2020-12-10T08:48:50.724" v="94" actId="47"/>
        <pc:sldMkLst>
          <pc:docMk/>
          <pc:sldMk cId="1329302650" sldId="278"/>
        </pc:sldMkLst>
      </pc:sldChg>
      <pc:sldChg chg="del">
        <pc:chgData name="Thomas Stensitzki" userId="75cafe6b-2f2a-469b-85c4-eec3b9c972ba" providerId="ADAL" clId="{F338BDC2-3B44-4CC7-956C-2FE88889108A}" dt="2020-12-10T08:48:53.440" v="95" actId="47"/>
        <pc:sldMkLst>
          <pc:docMk/>
          <pc:sldMk cId="3917571299" sldId="283"/>
        </pc:sldMkLst>
      </pc:sldChg>
      <pc:sldChg chg="addSp delSp modSp mod ord addAnim delAnim modAnim modNotesTx">
        <pc:chgData name="Thomas Stensitzki" userId="75cafe6b-2f2a-469b-85c4-eec3b9c972ba" providerId="ADAL" clId="{F338BDC2-3B44-4CC7-956C-2FE88889108A}" dt="2020-12-13T12:04:48.970" v="3936"/>
        <pc:sldMkLst>
          <pc:docMk/>
          <pc:sldMk cId="2936337643" sldId="284"/>
        </pc:sldMkLst>
        <pc:spChg chg="mod">
          <ac:chgData name="Thomas Stensitzki" userId="75cafe6b-2f2a-469b-85c4-eec3b9c972ba" providerId="ADAL" clId="{F338BDC2-3B44-4CC7-956C-2FE88889108A}" dt="2020-12-13T11:33:18.761" v="2704" actId="6549"/>
          <ac:spMkLst>
            <pc:docMk/>
            <pc:sldMk cId="2936337643" sldId="284"/>
            <ac:spMk id="7" creationId="{DECEB6B6-B5D5-4B5B-BBF3-49FAE1F90F1F}"/>
          </ac:spMkLst>
        </pc:spChg>
        <pc:spChg chg="add mod">
          <ac:chgData name="Thomas Stensitzki" userId="75cafe6b-2f2a-469b-85c4-eec3b9c972ba" providerId="ADAL" clId="{F338BDC2-3B44-4CC7-956C-2FE88889108A}" dt="2020-12-13T11:49:34.330" v="3344" actId="6549"/>
          <ac:spMkLst>
            <pc:docMk/>
            <pc:sldMk cId="2936337643" sldId="284"/>
            <ac:spMk id="8" creationId="{302C3363-E210-4B87-A760-7ABDC225B675}"/>
          </ac:spMkLst>
        </pc:spChg>
        <pc:spChg chg="del">
          <ac:chgData name="Thomas Stensitzki" userId="75cafe6b-2f2a-469b-85c4-eec3b9c972ba" providerId="ADAL" clId="{F338BDC2-3B44-4CC7-956C-2FE88889108A}" dt="2020-12-13T09:53:37.674" v="1271" actId="478"/>
          <ac:spMkLst>
            <pc:docMk/>
            <pc:sldMk cId="2936337643" sldId="284"/>
            <ac:spMk id="41" creationId="{6B923075-406C-4A79-849F-DD56F06C9F4F}"/>
          </ac:spMkLst>
        </pc:spChg>
        <pc:spChg chg="add mod ord">
          <ac:chgData name="Thomas Stensitzki" userId="75cafe6b-2f2a-469b-85c4-eec3b9c972ba" providerId="ADAL" clId="{F338BDC2-3B44-4CC7-956C-2FE88889108A}" dt="2020-12-13T12:04:30.634" v="3932" actId="164"/>
          <ac:spMkLst>
            <pc:docMk/>
            <pc:sldMk cId="2936337643" sldId="284"/>
            <ac:spMk id="56" creationId="{09C20396-56B8-44CF-8F9C-E020438212B0}"/>
          </ac:spMkLst>
        </pc:spChg>
        <pc:spChg chg="add mod">
          <ac:chgData name="Thomas Stensitzki" userId="75cafe6b-2f2a-469b-85c4-eec3b9c972ba" providerId="ADAL" clId="{F338BDC2-3B44-4CC7-956C-2FE88889108A}" dt="2020-12-13T12:04:30.634" v="3932" actId="164"/>
          <ac:spMkLst>
            <pc:docMk/>
            <pc:sldMk cId="2936337643" sldId="284"/>
            <ac:spMk id="57" creationId="{92F11A0A-231A-472D-9512-9676ED6587B8}"/>
          </ac:spMkLst>
        </pc:spChg>
        <pc:spChg chg="add mod">
          <ac:chgData name="Thomas Stensitzki" userId="75cafe6b-2f2a-469b-85c4-eec3b9c972ba" providerId="ADAL" clId="{F338BDC2-3B44-4CC7-956C-2FE88889108A}" dt="2020-12-13T10:07:05.312" v="1855" actId="14100"/>
          <ac:spMkLst>
            <pc:docMk/>
            <pc:sldMk cId="2936337643" sldId="284"/>
            <ac:spMk id="59" creationId="{69A411DA-65F6-43F5-8071-8023E654030C}"/>
          </ac:spMkLst>
        </pc:spChg>
        <pc:spChg chg="add mod">
          <ac:chgData name="Thomas Stensitzki" userId="75cafe6b-2f2a-469b-85c4-eec3b9c972ba" providerId="ADAL" clId="{F338BDC2-3B44-4CC7-956C-2FE88889108A}" dt="2020-12-13T10:06:57.518" v="1854" actId="14100"/>
          <ac:spMkLst>
            <pc:docMk/>
            <pc:sldMk cId="2936337643" sldId="284"/>
            <ac:spMk id="61" creationId="{825F017D-4163-4A77-8A1B-A973D6DB4D27}"/>
          </ac:spMkLst>
        </pc:spChg>
        <pc:spChg chg="del">
          <ac:chgData name="Thomas Stensitzki" userId="75cafe6b-2f2a-469b-85c4-eec3b9c972ba" providerId="ADAL" clId="{F338BDC2-3B44-4CC7-956C-2FE88889108A}" dt="2020-12-13T09:53:27.644" v="1269" actId="478"/>
          <ac:spMkLst>
            <pc:docMk/>
            <pc:sldMk cId="2936337643" sldId="284"/>
            <ac:spMk id="66" creationId="{00CED85F-7C64-41B5-9989-4B80317B500D}"/>
          </ac:spMkLst>
        </pc:spChg>
        <pc:spChg chg="del">
          <ac:chgData name="Thomas Stensitzki" userId="75cafe6b-2f2a-469b-85c4-eec3b9c972ba" providerId="ADAL" clId="{F338BDC2-3B44-4CC7-956C-2FE88889108A}" dt="2020-12-13T09:53:27.644" v="1269" actId="478"/>
          <ac:spMkLst>
            <pc:docMk/>
            <pc:sldMk cId="2936337643" sldId="284"/>
            <ac:spMk id="72" creationId="{E7E67A63-953E-453A-83C7-15E972080F3A}"/>
          </ac:spMkLst>
        </pc:spChg>
        <pc:spChg chg="add del mod">
          <ac:chgData name="Thomas Stensitzki" userId="75cafe6b-2f2a-469b-85c4-eec3b9c972ba" providerId="ADAL" clId="{F338BDC2-3B44-4CC7-956C-2FE88889108A}" dt="2020-12-13T10:06:10.970" v="1848" actId="478"/>
          <ac:spMkLst>
            <pc:docMk/>
            <pc:sldMk cId="2936337643" sldId="284"/>
            <ac:spMk id="97" creationId="{1E0F21F9-55BB-46B1-8B94-91B7EA4081A5}"/>
          </ac:spMkLst>
        </pc:spChg>
        <pc:spChg chg="add del mod">
          <ac:chgData name="Thomas Stensitzki" userId="75cafe6b-2f2a-469b-85c4-eec3b9c972ba" providerId="ADAL" clId="{F338BDC2-3B44-4CC7-956C-2FE88889108A}" dt="2020-12-13T10:06:10.970" v="1848" actId="478"/>
          <ac:spMkLst>
            <pc:docMk/>
            <pc:sldMk cId="2936337643" sldId="284"/>
            <ac:spMk id="99" creationId="{269ED1AE-DCDF-436C-B99E-818E2CDEFFA2}"/>
          </ac:spMkLst>
        </pc:spChg>
        <pc:spChg chg="mod">
          <ac:chgData name="Thomas Stensitzki" userId="75cafe6b-2f2a-469b-85c4-eec3b9c972ba" providerId="ADAL" clId="{F338BDC2-3B44-4CC7-956C-2FE88889108A}" dt="2020-12-13T10:05:42.282" v="1818"/>
          <ac:spMkLst>
            <pc:docMk/>
            <pc:sldMk cId="2936337643" sldId="284"/>
            <ac:spMk id="105" creationId="{57293FEA-17A5-4CCB-B055-E5881944F29E}"/>
          </ac:spMkLst>
        </pc:spChg>
        <pc:spChg chg="mod">
          <ac:chgData name="Thomas Stensitzki" userId="75cafe6b-2f2a-469b-85c4-eec3b9c972ba" providerId="ADAL" clId="{F338BDC2-3B44-4CC7-956C-2FE88889108A}" dt="2020-12-13T10:31:01.837" v="2189" actId="14100"/>
          <ac:spMkLst>
            <pc:docMk/>
            <pc:sldMk cId="2936337643" sldId="284"/>
            <ac:spMk id="110" creationId="{D70C58A3-1ABE-4A54-AE63-F62EE858C665}"/>
          </ac:spMkLst>
        </pc:spChg>
        <pc:spChg chg="add mod">
          <ac:chgData name="Thomas Stensitzki" userId="75cafe6b-2f2a-469b-85c4-eec3b9c972ba" providerId="ADAL" clId="{F338BDC2-3B44-4CC7-956C-2FE88889108A}" dt="2020-12-13T10:36:30.171" v="2335" actId="20577"/>
          <ac:spMkLst>
            <pc:docMk/>
            <pc:sldMk cId="2936337643" sldId="284"/>
            <ac:spMk id="111" creationId="{3F35F5CF-E054-4A77-8B35-B195C8A2FCDB}"/>
          </ac:spMkLst>
        </pc:spChg>
        <pc:spChg chg="add mod">
          <ac:chgData name="Thomas Stensitzki" userId="75cafe6b-2f2a-469b-85c4-eec3b9c972ba" providerId="ADAL" clId="{F338BDC2-3B44-4CC7-956C-2FE88889108A}" dt="2020-12-13T11:57:27.996" v="3785" actId="20577"/>
          <ac:spMkLst>
            <pc:docMk/>
            <pc:sldMk cId="2936337643" sldId="284"/>
            <ac:spMk id="112" creationId="{2B377834-3EA7-47B9-8AE0-3FC26039C84F}"/>
          </ac:spMkLst>
        </pc:spChg>
        <pc:spChg chg="add mod">
          <ac:chgData name="Thomas Stensitzki" userId="75cafe6b-2f2a-469b-85c4-eec3b9c972ba" providerId="ADAL" clId="{F338BDC2-3B44-4CC7-956C-2FE88889108A}" dt="2020-12-13T11:34:09.322" v="2705" actId="164"/>
          <ac:spMkLst>
            <pc:docMk/>
            <pc:sldMk cId="2936337643" sldId="284"/>
            <ac:spMk id="115" creationId="{EB4B10B8-6522-4F58-9410-47B223A6DF93}"/>
          </ac:spMkLst>
        </pc:spChg>
        <pc:spChg chg="add mod">
          <ac:chgData name="Thomas Stensitzki" userId="75cafe6b-2f2a-469b-85c4-eec3b9c972ba" providerId="ADAL" clId="{F338BDC2-3B44-4CC7-956C-2FE88889108A}" dt="2020-12-13T11:34:09.322" v="2705" actId="164"/>
          <ac:spMkLst>
            <pc:docMk/>
            <pc:sldMk cId="2936337643" sldId="284"/>
            <ac:spMk id="116" creationId="{502D7700-F5AF-4196-85D2-0312D061BB5D}"/>
          </ac:spMkLst>
        </pc:spChg>
        <pc:spChg chg="add mod">
          <ac:chgData name="Thomas Stensitzki" userId="75cafe6b-2f2a-469b-85c4-eec3b9c972ba" providerId="ADAL" clId="{F338BDC2-3B44-4CC7-956C-2FE88889108A}" dt="2020-12-13T11:34:09.322" v="2705" actId="164"/>
          <ac:spMkLst>
            <pc:docMk/>
            <pc:sldMk cId="2936337643" sldId="284"/>
            <ac:spMk id="117" creationId="{DA8145F0-A3A8-4810-940A-2B24FFBE76E2}"/>
          </ac:spMkLst>
        </pc:spChg>
        <pc:spChg chg="add del mod">
          <ac:chgData name="Thomas Stensitzki" userId="75cafe6b-2f2a-469b-85c4-eec3b9c972ba" providerId="ADAL" clId="{F338BDC2-3B44-4CC7-956C-2FE88889108A}" dt="2020-12-13T10:41:54.977" v="2674" actId="478"/>
          <ac:spMkLst>
            <pc:docMk/>
            <pc:sldMk cId="2936337643" sldId="284"/>
            <ac:spMk id="118" creationId="{775ACB1E-321A-49F0-B0AD-B09BB1E51706}"/>
          </ac:spMkLst>
        </pc:spChg>
        <pc:spChg chg="add del mod">
          <ac:chgData name="Thomas Stensitzki" userId="75cafe6b-2f2a-469b-85c4-eec3b9c972ba" providerId="ADAL" clId="{F338BDC2-3B44-4CC7-956C-2FE88889108A}" dt="2020-12-13T10:42:01.263" v="2676" actId="478"/>
          <ac:spMkLst>
            <pc:docMk/>
            <pc:sldMk cId="2936337643" sldId="284"/>
            <ac:spMk id="119" creationId="{F9959B98-027E-4F61-83D0-4BBE81A0FFA1}"/>
          </ac:spMkLst>
        </pc:spChg>
        <pc:spChg chg="add mod">
          <ac:chgData name="Thomas Stensitzki" userId="75cafe6b-2f2a-469b-85c4-eec3b9c972ba" providerId="ADAL" clId="{F338BDC2-3B44-4CC7-956C-2FE88889108A}" dt="2020-12-13T11:34:09.322" v="2705" actId="164"/>
          <ac:spMkLst>
            <pc:docMk/>
            <pc:sldMk cId="2936337643" sldId="284"/>
            <ac:spMk id="120" creationId="{9D1EC8BE-395E-46C0-8EA0-BF8E0D920EE5}"/>
          </ac:spMkLst>
        </pc:spChg>
        <pc:spChg chg="add del mod">
          <ac:chgData name="Thomas Stensitzki" userId="75cafe6b-2f2a-469b-85c4-eec3b9c972ba" providerId="ADAL" clId="{F338BDC2-3B44-4CC7-956C-2FE88889108A}" dt="2020-12-13T10:30:10.799" v="2183"/>
          <ac:spMkLst>
            <pc:docMk/>
            <pc:sldMk cId="2936337643" sldId="284"/>
            <ac:spMk id="125" creationId="{99772C5D-9B2A-4CE5-8C11-4FF40E20BCA5}"/>
          </ac:spMkLst>
        </pc:spChg>
        <pc:spChg chg="add del mod">
          <ac:chgData name="Thomas Stensitzki" userId="75cafe6b-2f2a-469b-85c4-eec3b9c972ba" providerId="ADAL" clId="{F338BDC2-3B44-4CC7-956C-2FE88889108A}" dt="2020-12-13T10:30:10.799" v="2183"/>
          <ac:spMkLst>
            <pc:docMk/>
            <pc:sldMk cId="2936337643" sldId="284"/>
            <ac:spMk id="127" creationId="{49C88B81-A912-4428-97C4-D920C69C9ACE}"/>
          </ac:spMkLst>
        </pc:spChg>
        <pc:spChg chg="add del mod">
          <ac:chgData name="Thomas Stensitzki" userId="75cafe6b-2f2a-469b-85c4-eec3b9c972ba" providerId="ADAL" clId="{F338BDC2-3B44-4CC7-956C-2FE88889108A}" dt="2020-12-13T10:30:10.799" v="2183"/>
          <ac:spMkLst>
            <pc:docMk/>
            <pc:sldMk cId="2936337643" sldId="284"/>
            <ac:spMk id="128" creationId="{237E1013-57BD-4D34-98C3-2298B6C77874}"/>
          </ac:spMkLst>
        </pc:spChg>
        <pc:spChg chg="add del mod">
          <ac:chgData name="Thomas Stensitzki" userId="75cafe6b-2f2a-469b-85c4-eec3b9c972ba" providerId="ADAL" clId="{F338BDC2-3B44-4CC7-956C-2FE88889108A}" dt="2020-12-13T10:30:10.799" v="2183"/>
          <ac:spMkLst>
            <pc:docMk/>
            <pc:sldMk cId="2936337643" sldId="284"/>
            <ac:spMk id="129" creationId="{6E8108D0-35E7-4202-8BBC-CE682C70EAA0}"/>
          </ac:spMkLst>
        </pc:spChg>
        <pc:spChg chg="add del mod">
          <ac:chgData name="Thomas Stensitzki" userId="75cafe6b-2f2a-469b-85c4-eec3b9c972ba" providerId="ADAL" clId="{F338BDC2-3B44-4CC7-956C-2FE88889108A}" dt="2020-12-13T10:30:10.799" v="2183"/>
          <ac:spMkLst>
            <pc:docMk/>
            <pc:sldMk cId="2936337643" sldId="284"/>
            <ac:spMk id="130" creationId="{14F90D0D-BCAC-41FB-84DF-D215F196C6FF}"/>
          </ac:spMkLst>
        </pc:spChg>
        <pc:spChg chg="add del mod">
          <ac:chgData name="Thomas Stensitzki" userId="75cafe6b-2f2a-469b-85c4-eec3b9c972ba" providerId="ADAL" clId="{F338BDC2-3B44-4CC7-956C-2FE88889108A}" dt="2020-12-13T10:30:10.799" v="2183"/>
          <ac:spMkLst>
            <pc:docMk/>
            <pc:sldMk cId="2936337643" sldId="284"/>
            <ac:spMk id="131" creationId="{38BCE2E6-D8A2-4C51-BD81-EB74EEFCFED6}"/>
          </ac:spMkLst>
        </pc:spChg>
        <pc:spChg chg="add del mod">
          <ac:chgData name="Thomas Stensitzki" userId="75cafe6b-2f2a-469b-85c4-eec3b9c972ba" providerId="ADAL" clId="{F338BDC2-3B44-4CC7-956C-2FE88889108A}" dt="2020-12-13T10:30:10.799" v="2183"/>
          <ac:spMkLst>
            <pc:docMk/>
            <pc:sldMk cId="2936337643" sldId="284"/>
            <ac:spMk id="132" creationId="{0141D14E-EC87-43A2-8F17-EE9807F8FE81}"/>
          </ac:spMkLst>
        </pc:spChg>
        <pc:spChg chg="add mod">
          <ac:chgData name="Thomas Stensitzki" userId="75cafe6b-2f2a-469b-85c4-eec3b9c972ba" providerId="ADAL" clId="{F338BDC2-3B44-4CC7-956C-2FE88889108A}" dt="2020-12-13T11:49:39.417" v="3354" actId="6549"/>
          <ac:spMkLst>
            <pc:docMk/>
            <pc:sldMk cId="2936337643" sldId="284"/>
            <ac:spMk id="138" creationId="{BCC87C25-6930-4FC2-A519-652F14761BE9}"/>
          </ac:spMkLst>
        </pc:spChg>
        <pc:spChg chg="add mod">
          <ac:chgData name="Thomas Stensitzki" userId="75cafe6b-2f2a-469b-85c4-eec3b9c972ba" providerId="ADAL" clId="{F338BDC2-3B44-4CC7-956C-2FE88889108A}" dt="2020-12-13T11:38:47.461" v="2734" actId="164"/>
          <ac:spMkLst>
            <pc:docMk/>
            <pc:sldMk cId="2936337643" sldId="284"/>
            <ac:spMk id="140" creationId="{51AB8236-7258-4091-AC29-383F26B10137}"/>
          </ac:spMkLst>
        </pc:spChg>
        <pc:spChg chg="add mod">
          <ac:chgData name="Thomas Stensitzki" userId="75cafe6b-2f2a-469b-85c4-eec3b9c972ba" providerId="ADAL" clId="{F338BDC2-3B44-4CC7-956C-2FE88889108A}" dt="2020-12-13T11:38:47.461" v="2734" actId="164"/>
          <ac:spMkLst>
            <pc:docMk/>
            <pc:sldMk cId="2936337643" sldId="284"/>
            <ac:spMk id="141" creationId="{8B679476-1524-492E-ABF5-1AEAF1ABACB5}"/>
          </ac:spMkLst>
        </pc:spChg>
        <pc:spChg chg="add mod">
          <ac:chgData name="Thomas Stensitzki" userId="75cafe6b-2f2a-469b-85c4-eec3b9c972ba" providerId="ADAL" clId="{F338BDC2-3B44-4CC7-956C-2FE88889108A}" dt="2020-12-13T11:38:47.461" v="2734" actId="164"/>
          <ac:spMkLst>
            <pc:docMk/>
            <pc:sldMk cId="2936337643" sldId="284"/>
            <ac:spMk id="142" creationId="{C2DA9AD6-22FC-4525-967A-9E9991A09746}"/>
          </ac:spMkLst>
        </pc:spChg>
        <pc:spChg chg="add del mod">
          <ac:chgData name="Thomas Stensitzki" userId="75cafe6b-2f2a-469b-85c4-eec3b9c972ba" providerId="ADAL" clId="{F338BDC2-3B44-4CC7-956C-2FE88889108A}" dt="2020-12-13T11:32:26.448" v="2683" actId="478"/>
          <ac:spMkLst>
            <pc:docMk/>
            <pc:sldMk cId="2936337643" sldId="284"/>
            <ac:spMk id="143" creationId="{9C09BF9F-8305-4DA1-AB19-2CEDD4255FF7}"/>
          </ac:spMkLst>
        </pc:spChg>
        <pc:spChg chg="add del mod">
          <ac:chgData name="Thomas Stensitzki" userId="75cafe6b-2f2a-469b-85c4-eec3b9c972ba" providerId="ADAL" clId="{F338BDC2-3B44-4CC7-956C-2FE88889108A}" dt="2020-12-13T11:32:26.448" v="2683" actId="478"/>
          <ac:spMkLst>
            <pc:docMk/>
            <pc:sldMk cId="2936337643" sldId="284"/>
            <ac:spMk id="144" creationId="{907B3218-E165-41E9-89F6-1C971F2A719F}"/>
          </ac:spMkLst>
        </pc:spChg>
        <pc:spChg chg="add mod">
          <ac:chgData name="Thomas Stensitzki" userId="75cafe6b-2f2a-469b-85c4-eec3b9c972ba" providerId="ADAL" clId="{F338BDC2-3B44-4CC7-956C-2FE88889108A}" dt="2020-12-13T11:38:47.461" v="2734" actId="164"/>
          <ac:spMkLst>
            <pc:docMk/>
            <pc:sldMk cId="2936337643" sldId="284"/>
            <ac:spMk id="145" creationId="{F34F295F-21DB-4CEF-8393-1B8BB9E84F34}"/>
          </ac:spMkLst>
        </pc:spChg>
        <pc:grpChg chg="del">
          <ac:chgData name="Thomas Stensitzki" userId="75cafe6b-2f2a-469b-85c4-eec3b9c972ba" providerId="ADAL" clId="{F338BDC2-3B44-4CC7-956C-2FE88889108A}" dt="2020-12-13T09:53:33.172" v="1270" actId="478"/>
          <ac:grpSpMkLst>
            <pc:docMk/>
            <pc:sldMk cId="2936337643" sldId="284"/>
            <ac:grpSpMk id="2" creationId="{3565012F-CB19-4F48-994A-6E39AA32F671}"/>
          </ac:grpSpMkLst>
        </pc:grpChg>
        <pc:grpChg chg="del">
          <ac:chgData name="Thomas Stensitzki" userId="75cafe6b-2f2a-469b-85c4-eec3b9c972ba" providerId="ADAL" clId="{F338BDC2-3B44-4CC7-956C-2FE88889108A}" dt="2020-12-13T09:53:33.172" v="1270" actId="478"/>
          <ac:grpSpMkLst>
            <pc:docMk/>
            <pc:sldMk cId="2936337643" sldId="284"/>
            <ac:grpSpMk id="3" creationId="{21259E35-E2A6-4A68-9373-68D4E5774CB2}"/>
          </ac:grpSpMkLst>
        </pc:grpChg>
        <pc:grpChg chg="del">
          <ac:chgData name="Thomas Stensitzki" userId="75cafe6b-2f2a-469b-85c4-eec3b9c972ba" providerId="ADAL" clId="{F338BDC2-3B44-4CC7-956C-2FE88889108A}" dt="2020-12-13T09:53:33.172" v="1270" actId="478"/>
          <ac:grpSpMkLst>
            <pc:docMk/>
            <pc:sldMk cId="2936337643" sldId="284"/>
            <ac:grpSpMk id="4" creationId="{A8468B08-DB60-4AAA-A39D-67F08BE9BD23}"/>
          </ac:grpSpMkLst>
        </pc:grpChg>
        <pc:grpChg chg="del">
          <ac:chgData name="Thomas Stensitzki" userId="75cafe6b-2f2a-469b-85c4-eec3b9c972ba" providerId="ADAL" clId="{F338BDC2-3B44-4CC7-956C-2FE88889108A}" dt="2020-12-13T09:53:27.644" v="1269" actId="478"/>
          <ac:grpSpMkLst>
            <pc:docMk/>
            <pc:sldMk cId="2936337643" sldId="284"/>
            <ac:grpSpMk id="10" creationId="{602E3752-E0E1-49B1-97D2-3F100C13A865}"/>
          </ac:grpSpMkLst>
        </pc:grpChg>
        <pc:grpChg chg="del">
          <ac:chgData name="Thomas Stensitzki" userId="75cafe6b-2f2a-469b-85c4-eec3b9c972ba" providerId="ADAL" clId="{F338BDC2-3B44-4CC7-956C-2FE88889108A}" dt="2020-12-13T09:53:33.172" v="1270" actId="478"/>
          <ac:grpSpMkLst>
            <pc:docMk/>
            <pc:sldMk cId="2936337643" sldId="284"/>
            <ac:grpSpMk id="14" creationId="{0AB230B2-7086-4897-86B9-0437FA637D25}"/>
          </ac:grpSpMkLst>
        </pc:grpChg>
        <pc:grpChg chg="del">
          <ac:chgData name="Thomas Stensitzki" userId="75cafe6b-2f2a-469b-85c4-eec3b9c972ba" providerId="ADAL" clId="{F338BDC2-3B44-4CC7-956C-2FE88889108A}" dt="2020-12-13T09:53:27.644" v="1269" actId="478"/>
          <ac:grpSpMkLst>
            <pc:docMk/>
            <pc:sldMk cId="2936337643" sldId="284"/>
            <ac:grpSpMk id="16" creationId="{2E79846B-04D2-4D96-8DE7-C33965609C87}"/>
          </ac:grpSpMkLst>
        </pc:grpChg>
        <pc:grpChg chg="del">
          <ac:chgData name="Thomas Stensitzki" userId="75cafe6b-2f2a-469b-85c4-eec3b9c972ba" providerId="ADAL" clId="{F338BDC2-3B44-4CC7-956C-2FE88889108A}" dt="2020-12-13T09:53:33.172" v="1270" actId="478"/>
          <ac:grpSpMkLst>
            <pc:docMk/>
            <pc:sldMk cId="2936337643" sldId="284"/>
            <ac:grpSpMk id="27" creationId="{2B1759CD-AC87-4EFB-B653-70FCF9B3ADC4}"/>
          </ac:grpSpMkLst>
        </pc:grpChg>
        <pc:grpChg chg="del">
          <ac:chgData name="Thomas Stensitzki" userId="75cafe6b-2f2a-469b-85c4-eec3b9c972ba" providerId="ADAL" clId="{F338BDC2-3B44-4CC7-956C-2FE88889108A}" dt="2020-12-13T09:53:27.644" v="1269" actId="478"/>
          <ac:grpSpMkLst>
            <pc:docMk/>
            <pc:sldMk cId="2936337643" sldId="284"/>
            <ac:grpSpMk id="32" creationId="{E7D935B3-71F7-4528-9645-1D74941016DE}"/>
          </ac:grpSpMkLst>
        </pc:grpChg>
        <pc:grpChg chg="del">
          <ac:chgData name="Thomas Stensitzki" userId="75cafe6b-2f2a-469b-85c4-eec3b9c972ba" providerId="ADAL" clId="{F338BDC2-3B44-4CC7-956C-2FE88889108A}" dt="2020-12-13T09:53:27.644" v="1269" actId="478"/>
          <ac:grpSpMkLst>
            <pc:docMk/>
            <pc:sldMk cId="2936337643" sldId="284"/>
            <ac:grpSpMk id="33" creationId="{A32A1B82-35F2-4295-80A4-A2D7DA69A3F3}"/>
          </ac:grpSpMkLst>
        </pc:grpChg>
        <pc:grpChg chg="del">
          <ac:chgData name="Thomas Stensitzki" userId="75cafe6b-2f2a-469b-85c4-eec3b9c972ba" providerId="ADAL" clId="{F338BDC2-3B44-4CC7-956C-2FE88889108A}" dt="2020-12-13T09:53:27.644" v="1269" actId="478"/>
          <ac:grpSpMkLst>
            <pc:docMk/>
            <pc:sldMk cId="2936337643" sldId="284"/>
            <ac:grpSpMk id="35" creationId="{ED6DC988-D106-4D8A-9A23-ED81F31C8685}"/>
          </ac:grpSpMkLst>
        </pc:grpChg>
        <pc:grpChg chg="del">
          <ac:chgData name="Thomas Stensitzki" userId="75cafe6b-2f2a-469b-85c4-eec3b9c972ba" providerId="ADAL" clId="{F338BDC2-3B44-4CC7-956C-2FE88889108A}" dt="2020-12-13T09:53:27.644" v="1269" actId="478"/>
          <ac:grpSpMkLst>
            <pc:docMk/>
            <pc:sldMk cId="2936337643" sldId="284"/>
            <ac:grpSpMk id="40" creationId="{9D19F5E5-06F0-4281-BBF3-2017409A065B}"/>
          </ac:grpSpMkLst>
        </pc:grpChg>
        <pc:grpChg chg="add mod">
          <ac:chgData name="Thomas Stensitzki" userId="75cafe6b-2f2a-469b-85c4-eec3b9c972ba" providerId="ADAL" clId="{F338BDC2-3B44-4CC7-956C-2FE88889108A}" dt="2020-12-13T11:34:09.322" v="2705" actId="164"/>
          <ac:grpSpMkLst>
            <pc:docMk/>
            <pc:sldMk cId="2936337643" sldId="284"/>
            <ac:grpSpMk id="53" creationId="{4945307F-CA47-4DB4-A03D-ABAFD1E34913}"/>
          </ac:grpSpMkLst>
        </pc:grpChg>
        <pc:grpChg chg="add mod">
          <ac:chgData name="Thomas Stensitzki" userId="75cafe6b-2f2a-469b-85c4-eec3b9c972ba" providerId="ADAL" clId="{F338BDC2-3B44-4CC7-956C-2FE88889108A}" dt="2020-12-13T11:38:47.461" v="2734" actId="164"/>
          <ac:grpSpMkLst>
            <pc:docMk/>
            <pc:sldMk cId="2936337643" sldId="284"/>
            <ac:grpSpMk id="55" creationId="{0C61198A-EA63-4363-A69D-5CFF2B9A9102}"/>
          </ac:grpSpMkLst>
        </pc:grpChg>
        <pc:grpChg chg="add mod ord">
          <ac:chgData name="Thomas Stensitzki" userId="75cafe6b-2f2a-469b-85c4-eec3b9c972ba" providerId="ADAL" clId="{F338BDC2-3B44-4CC7-956C-2FE88889108A}" dt="2020-12-13T12:04:38.663" v="3933" actId="167"/>
          <ac:grpSpMkLst>
            <pc:docMk/>
            <pc:sldMk cId="2936337643" sldId="284"/>
            <ac:grpSpMk id="58" creationId="{EDFA74E8-71D0-4BAC-A032-392B270CAA07}"/>
          </ac:grpSpMkLst>
        </pc:grpChg>
        <pc:grpChg chg="add mod">
          <ac:chgData name="Thomas Stensitzki" userId="75cafe6b-2f2a-469b-85c4-eec3b9c972ba" providerId="ADAL" clId="{F338BDC2-3B44-4CC7-956C-2FE88889108A}" dt="2020-12-13T10:24:35.723" v="2087" actId="1076"/>
          <ac:grpSpMkLst>
            <pc:docMk/>
            <pc:sldMk cId="2936337643" sldId="284"/>
            <ac:grpSpMk id="62" creationId="{206E642B-D5AC-42CA-A649-0EE48CF6961F}"/>
          </ac:grpSpMkLst>
        </pc:grpChg>
        <pc:grpChg chg="add mod">
          <ac:chgData name="Thomas Stensitzki" userId="75cafe6b-2f2a-469b-85c4-eec3b9c972ba" providerId="ADAL" clId="{F338BDC2-3B44-4CC7-956C-2FE88889108A}" dt="2020-12-13T10:29:23.330" v="2176" actId="1037"/>
          <ac:grpSpMkLst>
            <pc:docMk/>
            <pc:sldMk cId="2936337643" sldId="284"/>
            <ac:grpSpMk id="68" creationId="{4CE6C66B-BE87-4A03-A1B6-980717D4A735}"/>
          </ac:grpSpMkLst>
        </pc:grpChg>
        <pc:grpChg chg="add del mod">
          <ac:chgData name="Thomas Stensitzki" userId="75cafe6b-2f2a-469b-85c4-eec3b9c972ba" providerId="ADAL" clId="{F338BDC2-3B44-4CC7-956C-2FE88889108A}" dt="2020-12-13T10:06:38.009" v="1852" actId="478"/>
          <ac:grpSpMkLst>
            <pc:docMk/>
            <pc:sldMk cId="2936337643" sldId="284"/>
            <ac:grpSpMk id="91" creationId="{7A2C96DD-1219-4674-9222-91749A3C71A5}"/>
          </ac:grpSpMkLst>
        </pc:grpChg>
        <pc:grpChg chg="add del mod">
          <ac:chgData name="Thomas Stensitzki" userId="75cafe6b-2f2a-469b-85c4-eec3b9c972ba" providerId="ADAL" clId="{F338BDC2-3B44-4CC7-956C-2FE88889108A}" dt="2020-12-13T10:06:38.009" v="1852" actId="478"/>
          <ac:grpSpMkLst>
            <pc:docMk/>
            <pc:sldMk cId="2936337643" sldId="284"/>
            <ac:grpSpMk id="101" creationId="{AD7F1FFA-FC6D-4F71-AEDD-037CC0F7BA4F}"/>
          </ac:grpSpMkLst>
        </pc:grpChg>
        <pc:grpChg chg="add del mod">
          <ac:chgData name="Thomas Stensitzki" userId="75cafe6b-2f2a-469b-85c4-eec3b9c972ba" providerId="ADAL" clId="{F338BDC2-3B44-4CC7-956C-2FE88889108A}" dt="2020-12-13T10:32:27.916" v="2206" actId="1076"/>
          <ac:grpSpMkLst>
            <pc:docMk/>
            <pc:sldMk cId="2936337643" sldId="284"/>
            <ac:grpSpMk id="106" creationId="{42DD229E-9228-44A7-BA24-C7F0AC516034}"/>
          </ac:grpSpMkLst>
        </pc:grpChg>
        <pc:picChg chg="add mod">
          <ac:chgData name="Thomas Stensitzki" userId="75cafe6b-2f2a-469b-85c4-eec3b9c972ba" providerId="ADAL" clId="{F338BDC2-3B44-4CC7-956C-2FE88889108A}" dt="2020-12-13T10:32:52.685" v="2210" actId="1076"/>
          <ac:picMkLst>
            <pc:docMk/>
            <pc:sldMk cId="2936337643" sldId="284"/>
            <ac:picMk id="21" creationId="{183A90D6-FA74-493D-8F94-BD888869CC8F}"/>
          </ac:picMkLst>
        </pc:picChg>
        <pc:picChg chg="add del mod">
          <ac:chgData name="Thomas Stensitzki" userId="75cafe6b-2f2a-469b-85c4-eec3b9c972ba" providerId="ADAL" clId="{F338BDC2-3B44-4CC7-956C-2FE88889108A}" dt="2020-12-13T10:19:55.606" v="1894" actId="22"/>
          <ac:picMkLst>
            <pc:docMk/>
            <pc:sldMk cId="2936337643" sldId="284"/>
            <ac:picMk id="39" creationId="{3C4BF044-97B3-4825-98C8-E73E934643B8}"/>
          </ac:picMkLst>
        </pc:picChg>
        <pc:picChg chg="add mod">
          <ac:chgData name="Thomas Stensitzki" userId="75cafe6b-2f2a-469b-85c4-eec3b9c972ba" providerId="ADAL" clId="{F338BDC2-3B44-4CC7-956C-2FE88889108A}" dt="2020-12-13T11:34:09.322" v="2705" actId="164"/>
          <ac:picMkLst>
            <pc:docMk/>
            <pc:sldMk cId="2936337643" sldId="284"/>
            <ac:picMk id="45" creationId="{87234F05-4DBE-43E7-86B3-71FCF2EF57AE}"/>
          </ac:picMkLst>
        </pc:picChg>
        <pc:picChg chg="add mod">
          <ac:chgData name="Thomas Stensitzki" userId="75cafe6b-2f2a-469b-85c4-eec3b9c972ba" providerId="ADAL" clId="{F338BDC2-3B44-4CC7-956C-2FE88889108A}" dt="2020-12-13T10:28:10.001" v="2130" actId="1076"/>
          <ac:picMkLst>
            <pc:docMk/>
            <pc:sldMk cId="2936337643" sldId="284"/>
            <ac:picMk id="49" creationId="{BE70F6E6-9D68-4C3C-994A-DEAFA2EC4DCF}"/>
          </ac:picMkLst>
        </pc:picChg>
        <pc:picChg chg="add mod">
          <ac:chgData name="Thomas Stensitzki" userId="75cafe6b-2f2a-469b-85c4-eec3b9c972ba" providerId="ADAL" clId="{F338BDC2-3B44-4CC7-956C-2FE88889108A}" dt="2020-12-13T11:38:25.485" v="2731" actId="1076"/>
          <ac:picMkLst>
            <pc:docMk/>
            <pc:sldMk cId="2936337643" sldId="284"/>
            <ac:picMk id="52" creationId="{B01B88CA-21EA-4387-A677-9D00B4CD73AB}"/>
          </ac:picMkLst>
        </pc:picChg>
        <pc:picChg chg="mod">
          <ac:chgData name="Thomas Stensitzki" userId="75cafe6b-2f2a-469b-85c4-eec3b9c972ba" providerId="ADAL" clId="{F338BDC2-3B44-4CC7-956C-2FE88889108A}" dt="2020-12-13T10:05:42.282" v="1818"/>
          <ac:picMkLst>
            <pc:docMk/>
            <pc:sldMk cId="2936337643" sldId="284"/>
            <ac:picMk id="64" creationId="{54BC1052-D253-4913-AFF2-1B5FE7DE17CD}"/>
          </ac:picMkLst>
        </pc:picChg>
        <pc:picChg chg="mod">
          <ac:chgData name="Thomas Stensitzki" userId="75cafe6b-2f2a-469b-85c4-eec3b9c972ba" providerId="ADAL" clId="{F338BDC2-3B44-4CC7-956C-2FE88889108A}" dt="2020-12-13T10:05:42.282" v="1818"/>
          <ac:picMkLst>
            <pc:docMk/>
            <pc:sldMk cId="2936337643" sldId="284"/>
            <ac:picMk id="65" creationId="{3747CFCB-875E-4FEA-91BC-8AA7530B4172}"/>
          </ac:picMkLst>
        </pc:picChg>
        <pc:picChg chg="mod">
          <ac:chgData name="Thomas Stensitzki" userId="75cafe6b-2f2a-469b-85c4-eec3b9c972ba" providerId="ADAL" clId="{F338BDC2-3B44-4CC7-956C-2FE88889108A}" dt="2020-12-13T10:05:42.282" v="1818"/>
          <ac:picMkLst>
            <pc:docMk/>
            <pc:sldMk cId="2936337643" sldId="284"/>
            <ac:picMk id="70" creationId="{B15A4A93-E391-4DFC-AE82-05EE92A1E69C}"/>
          </ac:picMkLst>
        </pc:picChg>
        <pc:picChg chg="mod">
          <ac:chgData name="Thomas Stensitzki" userId="75cafe6b-2f2a-469b-85c4-eec3b9c972ba" providerId="ADAL" clId="{F338BDC2-3B44-4CC7-956C-2FE88889108A}" dt="2020-12-13T10:05:42.282" v="1818"/>
          <ac:picMkLst>
            <pc:docMk/>
            <pc:sldMk cId="2936337643" sldId="284"/>
            <ac:picMk id="73" creationId="{D0963757-4F3C-487A-B52E-4F916D054D51}"/>
          </ac:picMkLst>
        </pc:picChg>
        <pc:picChg chg="add del mod">
          <ac:chgData name="Thomas Stensitzki" userId="75cafe6b-2f2a-469b-85c4-eec3b9c972ba" providerId="ADAL" clId="{F338BDC2-3B44-4CC7-956C-2FE88889108A}" dt="2020-12-13T10:06:10.970" v="1848" actId="478"/>
          <ac:picMkLst>
            <pc:docMk/>
            <pc:sldMk cId="2936337643" sldId="284"/>
            <ac:picMk id="75" creationId="{146CF609-03A3-4BC5-901B-CF6C1F1E70B4}"/>
          </ac:picMkLst>
        </pc:picChg>
        <pc:picChg chg="add del mod">
          <ac:chgData name="Thomas Stensitzki" userId="75cafe6b-2f2a-469b-85c4-eec3b9c972ba" providerId="ADAL" clId="{F338BDC2-3B44-4CC7-956C-2FE88889108A}" dt="2020-12-13T10:06:10.970" v="1848" actId="478"/>
          <ac:picMkLst>
            <pc:docMk/>
            <pc:sldMk cId="2936337643" sldId="284"/>
            <ac:picMk id="76" creationId="{B449C2F7-8E6C-4B42-9D7F-B6452E87A45A}"/>
          </ac:picMkLst>
        </pc:picChg>
        <pc:picChg chg="add del mod">
          <ac:chgData name="Thomas Stensitzki" userId="75cafe6b-2f2a-469b-85c4-eec3b9c972ba" providerId="ADAL" clId="{F338BDC2-3B44-4CC7-956C-2FE88889108A}" dt="2020-12-13T10:06:30.409" v="1850" actId="478"/>
          <ac:picMkLst>
            <pc:docMk/>
            <pc:sldMk cId="2936337643" sldId="284"/>
            <ac:picMk id="79" creationId="{F4C24951-5777-4053-8263-E1445093C9DA}"/>
          </ac:picMkLst>
        </pc:picChg>
        <pc:picChg chg="add del mod">
          <ac:chgData name="Thomas Stensitzki" userId="75cafe6b-2f2a-469b-85c4-eec3b9c972ba" providerId="ADAL" clId="{F338BDC2-3B44-4CC7-956C-2FE88889108A}" dt="2020-12-13T10:06:10.970" v="1848" actId="478"/>
          <ac:picMkLst>
            <pc:docMk/>
            <pc:sldMk cId="2936337643" sldId="284"/>
            <ac:picMk id="81" creationId="{BBE35F52-DC93-4813-B038-6DED4A39A3C7}"/>
          </ac:picMkLst>
        </pc:picChg>
        <pc:picChg chg="add del mod">
          <ac:chgData name="Thomas Stensitzki" userId="75cafe6b-2f2a-469b-85c4-eec3b9c972ba" providerId="ADAL" clId="{F338BDC2-3B44-4CC7-956C-2FE88889108A}" dt="2020-12-13T10:07:18.732" v="1857" actId="478"/>
          <ac:picMkLst>
            <pc:docMk/>
            <pc:sldMk cId="2936337643" sldId="284"/>
            <ac:picMk id="82" creationId="{C195E3D2-3670-47E7-8A8A-C7F806F03A09}"/>
          </ac:picMkLst>
        </pc:picChg>
        <pc:picChg chg="add mod">
          <ac:chgData name="Thomas Stensitzki" userId="75cafe6b-2f2a-469b-85c4-eec3b9c972ba" providerId="ADAL" clId="{F338BDC2-3B44-4CC7-956C-2FE88889108A}" dt="2020-12-13T10:24:35.723" v="2087" actId="1076"/>
          <ac:picMkLst>
            <pc:docMk/>
            <pc:sldMk cId="2936337643" sldId="284"/>
            <ac:picMk id="83" creationId="{2E8D3C2D-F42A-4916-93A8-938327EE1646}"/>
          </ac:picMkLst>
        </pc:picChg>
        <pc:picChg chg="add del mod">
          <ac:chgData name="Thomas Stensitzki" userId="75cafe6b-2f2a-469b-85c4-eec3b9c972ba" providerId="ADAL" clId="{F338BDC2-3B44-4CC7-956C-2FE88889108A}" dt="2020-12-13T10:06:31.794" v="1851" actId="478"/>
          <ac:picMkLst>
            <pc:docMk/>
            <pc:sldMk cId="2936337643" sldId="284"/>
            <ac:picMk id="85" creationId="{6AFC93D2-6C0D-4692-8420-72EF84312BCF}"/>
          </ac:picMkLst>
        </pc:picChg>
        <pc:picChg chg="add mod">
          <ac:chgData name="Thomas Stensitzki" userId="75cafe6b-2f2a-469b-85c4-eec3b9c972ba" providerId="ADAL" clId="{F338BDC2-3B44-4CC7-956C-2FE88889108A}" dt="2020-12-13T10:29:23.330" v="2176" actId="1037"/>
          <ac:picMkLst>
            <pc:docMk/>
            <pc:sldMk cId="2936337643" sldId="284"/>
            <ac:picMk id="87" creationId="{C787EBBC-1BB3-4FEE-BBB5-BC739D94C3EB}"/>
          </ac:picMkLst>
        </pc:picChg>
        <pc:picChg chg="add mod">
          <ac:chgData name="Thomas Stensitzki" userId="75cafe6b-2f2a-469b-85c4-eec3b9c972ba" providerId="ADAL" clId="{F338BDC2-3B44-4CC7-956C-2FE88889108A}" dt="2020-12-13T10:37:56.725" v="2552" actId="1076"/>
          <ac:picMkLst>
            <pc:docMk/>
            <pc:sldMk cId="2936337643" sldId="284"/>
            <ac:picMk id="90" creationId="{547B5AAA-EFA7-4286-BB17-2AC47761DA0F}"/>
          </ac:picMkLst>
        </pc:picChg>
        <pc:picChg chg="mod">
          <ac:chgData name="Thomas Stensitzki" userId="75cafe6b-2f2a-469b-85c4-eec3b9c972ba" providerId="ADAL" clId="{F338BDC2-3B44-4CC7-956C-2FE88889108A}" dt="2020-12-13T10:05:42.282" v="1818"/>
          <ac:picMkLst>
            <pc:docMk/>
            <pc:sldMk cId="2936337643" sldId="284"/>
            <ac:picMk id="92" creationId="{C7FC3A8E-DA48-44C1-BC1E-4703C4675E49}"/>
          </ac:picMkLst>
        </pc:picChg>
        <pc:picChg chg="mod">
          <ac:chgData name="Thomas Stensitzki" userId="75cafe6b-2f2a-469b-85c4-eec3b9c972ba" providerId="ADAL" clId="{F338BDC2-3B44-4CC7-956C-2FE88889108A}" dt="2020-12-13T10:05:42.282" v="1818"/>
          <ac:picMkLst>
            <pc:docMk/>
            <pc:sldMk cId="2936337643" sldId="284"/>
            <ac:picMk id="93" creationId="{3A52C289-1B72-4492-BBBA-0C8528109E0C}"/>
          </ac:picMkLst>
        </pc:picChg>
        <pc:picChg chg="add del mod">
          <ac:chgData name="Thomas Stensitzki" userId="75cafe6b-2f2a-469b-85c4-eec3b9c972ba" providerId="ADAL" clId="{F338BDC2-3B44-4CC7-956C-2FE88889108A}" dt="2020-12-13T10:07:41.771" v="1860" actId="478"/>
          <ac:picMkLst>
            <pc:docMk/>
            <pc:sldMk cId="2936337643" sldId="284"/>
            <ac:picMk id="95" creationId="{7E551F00-3E4C-4536-A94F-57BDE30ED21F}"/>
          </ac:picMkLst>
        </pc:picChg>
        <pc:picChg chg="add del mod">
          <ac:chgData name="Thomas Stensitzki" userId="75cafe6b-2f2a-469b-85c4-eec3b9c972ba" providerId="ADAL" clId="{F338BDC2-3B44-4CC7-956C-2FE88889108A}" dt="2020-12-13T10:07:43.240" v="1861" actId="478"/>
          <ac:picMkLst>
            <pc:docMk/>
            <pc:sldMk cId="2936337643" sldId="284"/>
            <ac:picMk id="96" creationId="{3CC86DE6-697C-4285-9B43-1AB33DCCDFA9}"/>
          </ac:picMkLst>
        </pc:picChg>
        <pc:picChg chg="mod">
          <ac:chgData name="Thomas Stensitzki" userId="75cafe6b-2f2a-469b-85c4-eec3b9c972ba" providerId="ADAL" clId="{F338BDC2-3B44-4CC7-956C-2FE88889108A}" dt="2020-12-13T10:05:42.282" v="1818"/>
          <ac:picMkLst>
            <pc:docMk/>
            <pc:sldMk cId="2936337643" sldId="284"/>
            <ac:picMk id="102" creationId="{0BA58F22-24E5-4A5F-8E3C-AB9F202D842C}"/>
          </ac:picMkLst>
        </pc:picChg>
        <pc:picChg chg="mod">
          <ac:chgData name="Thomas Stensitzki" userId="75cafe6b-2f2a-469b-85c4-eec3b9c972ba" providerId="ADAL" clId="{F338BDC2-3B44-4CC7-956C-2FE88889108A}" dt="2020-12-13T10:05:42.282" v="1818"/>
          <ac:picMkLst>
            <pc:docMk/>
            <pc:sldMk cId="2936337643" sldId="284"/>
            <ac:picMk id="103" creationId="{855C8DCF-D1F0-482A-9CA9-8902A722F163}"/>
          </ac:picMkLst>
        </pc:picChg>
        <pc:picChg chg="mod">
          <ac:chgData name="Thomas Stensitzki" userId="75cafe6b-2f2a-469b-85c4-eec3b9c972ba" providerId="ADAL" clId="{F338BDC2-3B44-4CC7-956C-2FE88889108A}" dt="2020-12-13T10:05:42.282" v="1818"/>
          <ac:picMkLst>
            <pc:docMk/>
            <pc:sldMk cId="2936337643" sldId="284"/>
            <ac:picMk id="104" creationId="{57D8DCC4-4073-4EED-B481-FFF3B37F6241}"/>
          </ac:picMkLst>
        </pc:picChg>
        <pc:picChg chg="mod ord">
          <ac:chgData name="Thomas Stensitzki" userId="75cafe6b-2f2a-469b-85c4-eec3b9c972ba" providerId="ADAL" clId="{F338BDC2-3B44-4CC7-956C-2FE88889108A}" dt="2020-12-13T12:03:16.326" v="3903" actId="166"/>
          <ac:picMkLst>
            <pc:docMk/>
            <pc:sldMk cId="2936337643" sldId="284"/>
            <ac:picMk id="107" creationId="{1484F5D6-B8BE-4C4E-8FD7-3ACF9540125D}"/>
          </ac:picMkLst>
        </pc:picChg>
        <pc:picChg chg="mod ord">
          <ac:chgData name="Thomas Stensitzki" userId="75cafe6b-2f2a-469b-85c4-eec3b9c972ba" providerId="ADAL" clId="{F338BDC2-3B44-4CC7-956C-2FE88889108A}" dt="2020-12-13T12:03:16.326" v="3903" actId="166"/>
          <ac:picMkLst>
            <pc:docMk/>
            <pc:sldMk cId="2936337643" sldId="284"/>
            <ac:picMk id="108" creationId="{4C839927-FA51-439F-BF26-5F7C03AB15ED}"/>
          </ac:picMkLst>
        </pc:picChg>
        <pc:picChg chg="del mod">
          <ac:chgData name="Thomas Stensitzki" userId="75cafe6b-2f2a-469b-85c4-eec3b9c972ba" providerId="ADAL" clId="{F338BDC2-3B44-4CC7-956C-2FE88889108A}" dt="2020-12-13T10:07:48.430" v="1862" actId="478"/>
          <ac:picMkLst>
            <pc:docMk/>
            <pc:sldMk cId="2936337643" sldId="284"/>
            <ac:picMk id="109" creationId="{DE167C85-9A10-4BC0-8DD4-5A4D7836A6B6}"/>
          </ac:picMkLst>
        </pc:picChg>
        <pc:picChg chg="add del mod">
          <ac:chgData name="Thomas Stensitzki" userId="75cafe6b-2f2a-469b-85c4-eec3b9c972ba" providerId="ADAL" clId="{F338BDC2-3B44-4CC7-956C-2FE88889108A}" dt="2020-12-13T10:06:38.009" v="1852" actId="478"/>
          <ac:picMkLst>
            <pc:docMk/>
            <pc:sldMk cId="2936337643" sldId="284"/>
            <ac:picMk id="113" creationId="{0FC857C4-3192-4D7B-BBB0-FB3C15CA1967}"/>
          </ac:picMkLst>
        </pc:picChg>
        <pc:picChg chg="add mod">
          <ac:chgData name="Thomas Stensitzki" userId="75cafe6b-2f2a-469b-85c4-eec3b9c972ba" providerId="ADAL" clId="{F338BDC2-3B44-4CC7-956C-2FE88889108A}" dt="2020-12-13T10:29:39.558" v="2179" actId="1076"/>
          <ac:picMkLst>
            <pc:docMk/>
            <pc:sldMk cId="2936337643" sldId="284"/>
            <ac:picMk id="114" creationId="{7C421743-5D01-4D45-87B1-96874309D749}"/>
          </ac:picMkLst>
        </pc:picChg>
        <pc:picChg chg="add mod">
          <ac:chgData name="Thomas Stensitzki" userId="75cafe6b-2f2a-469b-85c4-eec3b9c972ba" providerId="ADAL" clId="{F338BDC2-3B44-4CC7-956C-2FE88889108A}" dt="2020-12-13T10:28:17.618" v="2132" actId="1076"/>
          <ac:picMkLst>
            <pc:docMk/>
            <pc:sldMk cId="2936337643" sldId="284"/>
            <ac:picMk id="121" creationId="{F617DCB0-48E2-4134-B4AD-90F98ACFF4AC}"/>
          </ac:picMkLst>
        </pc:picChg>
        <pc:picChg chg="add mod">
          <ac:chgData name="Thomas Stensitzki" userId="75cafe6b-2f2a-469b-85c4-eec3b9c972ba" providerId="ADAL" clId="{F338BDC2-3B44-4CC7-956C-2FE88889108A}" dt="2020-12-13T10:28:23.673" v="2134" actId="1076"/>
          <ac:picMkLst>
            <pc:docMk/>
            <pc:sldMk cId="2936337643" sldId="284"/>
            <ac:picMk id="122" creationId="{541B0C87-3B35-45AF-AB72-6AE7763C9A28}"/>
          </ac:picMkLst>
        </pc:picChg>
        <pc:picChg chg="add del mod">
          <ac:chgData name="Thomas Stensitzki" userId="75cafe6b-2f2a-469b-85c4-eec3b9c972ba" providerId="ADAL" clId="{F338BDC2-3B44-4CC7-956C-2FE88889108A}" dt="2020-12-13T10:41:59.071" v="2675" actId="478"/>
          <ac:picMkLst>
            <pc:docMk/>
            <pc:sldMk cId="2936337643" sldId="284"/>
            <ac:picMk id="123" creationId="{5543F2A6-B5C7-4116-AE6C-4A8674A4C80A}"/>
          </ac:picMkLst>
        </pc:picChg>
        <pc:picChg chg="add del mod">
          <ac:chgData name="Thomas Stensitzki" userId="75cafe6b-2f2a-469b-85c4-eec3b9c972ba" providerId="ADAL" clId="{F338BDC2-3B44-4CC7-956C-2FE88889108A}" dt="2020-12-13T10:42:03.317" v="2677" actId="478"/>
          <ac:picMkLst>
            <pc:docMk/>
            <pc:sldMk cId="2936337643" sldId="284"/>
            <ac:picMk id="124" creationId="{950A15D7-079E-4838-97DB-F0DBE839A1AB}"/>
          </ac:picMkLst>
        </pc:picChg>
        <pc:picChg chg="add del mod">
          <ac:chgData name="Thomas Stensitzki" userId="75cafe6b-2f2a-469b-85c4-eec3b9c972ba" providerId="ADAL" clId="{F338BDC2-3B44-4CC7-956C-2FE88889108A}" dt="2020-12-13T10:30:10.799" v="2183"/>
          <ac:picMkLst>
            <pc:docMk/>
            <pc:sldMk cId="2936337643" sldId="284"/>
            <ac:picMk id="126" creationId="{01172B6C-C1E9-47A1-A5B4-AFC83004C3A1}"/>
          </ac:picMkLst>
        </pc:picChg>
        <pc:picChg chg="add del mod">
          <ac:chgData name="Thomas Stensitzki" userId="75cafe6b-2f2a-469b-85c4-eec3b9c972ba" providerId="ADAL" clId="{F338BDC2-3B44-4CC7-956C-2FE88889108A}" dt="2020-12-13T10:30:10.799" v="2183"/>
          <ac:picMkLst>
            <pc:docMk/>
            <pc:sldMk cId="2936337643" sldId="284"/>
            <ac:picMk id="133" creationId="{50764BA5-B1B9-46B5-A370-2AAB8325D489}"/>
          </ac:picMkLst>
        </pc:picChg>
        <pc:picChg chg="add del mod">
          <ac:chgData name="Thomas Stensitzki" userId="75cafe6b-2f2a-469b-85c4-eec3b9c972ba" providerId="ADAL" clId="{F338BDC2-3B44-4CC7-956C-2FE88889108A}" dt="2020-12-13T10:30:10.799" v="2183"/>
          <ac:picMkLst>
            <pc:docMk/>
            <pc:sldMk cId="2936337643" sldId="284"/>
            <ac:picMk id="134" creationId="{752B3CE5-2399-4308-B993-B704E5BAC9BB}"/>
          </ac:picMkLst>
        </pc:picChg>
        <pc:picChg chg="add del mod">
          <ac:chgData name="Thomas Stensitzki" userId="75cafe6b-2f2a-469b-85c4-eec3b9c972ba" providerId="ADAL" clId="{F338BDC2-3B44-4CC7-956C-2FE88889108A}" dt="2020-12-13T10:30:10.799" v="2183"/>
          <ac:picMkLst>
            <pc:docMk/>
            <pc:sldMk cId="2936337643" sldId="284"/>
            <ac:picMk id="135" creationId="{E9B07804-1B58-48C2-8C82-B32123B881A9}"/>
          </ac:picMkLst>
        </pc:picChg>
        <pc:picChg chg="add del mod">
          <ac:chgData name="Thomas Stensitzki" userId="75cafe6b-2f2a-469b-85c4-eec3b9c972ba" providerId="ADAL" clId="{F338BDC2-3B44-4CC7-956C-2FE88889108A}" dt="2020-12-13T10:30:10.799" v="2183"/>
          <ac:picMkLst>
            <pc:docMk/>
            <pc:sldMk cId="2936337643" sldId="284"/>
            <ac:picMk id="136" creationId="{D520BED6-257F-43C2-ACE6-8AC8326B726A}"/>
          </ac:picMkLst>
        </pc:picChg>
        <pc:picChg chg="add del mod">
          <ac:chgData name="Thomas Stensitzki" userId="75cafe6b-2f2a-469b-85c4-eec3b9c972ba" providerId="ADAL" clId="{F338BDC2-3B44-4CC7-956C-2FE88889108A}" dt="2020-12-13T10:30:10.799" v="2183"/>
          <ac:picMkLst>
            <pc:docMk/>
            <pc:sldMk cId="2936337643" sldId="284"/>
            <ac:picMk id="137" creationId="{008D26BA-FD0F-436B-9FE2-773E1AFA88F0}"/>
          </ac:picMkLst>
        </pc:picChg>
        <pc:picChg chg="add del mod">
          <ac:chgData name="Thomas Stensitzki" userId="75cafe6b-2f2a-469b-85c4-eec3b9c972ba" providerId="ADAL" clId="{F338BDC2-3B44-4CC7-956C-2FE88889108A}" dt="2020-12-13T10:31:36.437" v="2195" actId="478"/>
          <ac:picMkLst>
            <pc:docMk/>
            <pc:sldMk cId="2936337643" sldId="284"/>
            <ac:picMk id="139" creationId="{BE668AFE-132D-4E72-9D19-3E3FBF7A9A55}"/>
          </ac:picMkLst>
        </pc:picChg>
        <pc:picChg chg="add del mod">
          <ac:chgData name="Thomas Stensitzki" userId="75cafe6b-2f2a-469b-85c4-eec3b9c972ba" providerId="ADAL" clId="{F338BDC2-3B44-4CC7-956C-2FE88889108A}" dt="2020-12-13T10:32:05.635" v="2201" actId="478"/>
          <ac:picMkLst>
            <pc:docMk/>
            <pc:sldMk cId="2936337643" sldId="284"/>
            <ac:picMk id="146" creationId="{3B1A2BA3-4F05-4857-A0E1-DE55DED4C725}"/>
          </ac:picMkLst>
        </pc:picChg>
        <pc:picChg chg="add del mod">
          <ac:chgData name="Thomas Stensitzki" userId="75cafe6b-2f2a-469b-85c4-eec3b9c972ba" providerId="ADAL" clId="{F338BDC2-3B44-4CC7-956C-2FE88889108A}" dt="2020-12-13T10:32:07.880" v="2202" actId="478"/>
          <ac:picMkLst>
            <pc:docMk/>
            <pc:sldMk cId="2936337643" sldId="284"/>
            <ac:picMk id="147" creationId="{1BE73762-A85D-4E5A-AAAA-82C941F32656}"/>
          </ac:picMkLst>
        </pc:picChg>
        <pc:picChg chg="add del mod">
          <ac:chgData name="Thomas Stensitzki" userId="75cafe6b-2f2a-469b-85c4-eec3b9c972ba" providerId="ADAL" clId="{F338BDC2-3B44-4CC7-956C-2FE88889108A}" dt="2020-12-13T10:32:10.453" v="2203" actId="478"/>
          <ac:picMkLst>
            <pc:docMk/>
            <pc:sldMk cId="2936337643" sldId="284"/>
            <ac:picMk id="148" creationId="{B4970930-40F6-4D31-9203-DE54BEDA06AE}"/>
          </ac:picMkLst>
        </pc:picChg>
        <pc:picChg chg="add del mod">
          <ac:chgData name="Thomas Stensitzki" userId="75cafe6b-2f2a-469b-85c4-eec3b9c972ba" providerId="ADAL" clId="{F338BDC2-3B44-4CC7-956C-2FE88889108A}" dt="2020-12-13T11:32:26.448" v="2683" actId="478"/>
          <ac:picMkLst>
            <pc:docMk/>
            <pc:sldMk cId="2936337643" sldId="284"/>
            <ac:picMk id="149" creationId="{FD0990E8-E75B-4CEA-8B6D-9062D0AF08E9}"/>
          </ac:picMkLst>
        </pc:picChg>
        <pc:picChg chg="add del mod">
          <ac:chgData name="Thomas Stensitzki" userId="75cafe6b-2f2a-469b-85c4-eec3b9c972ba" providerId="ADAL" clId="{F338BDC2-3B44-4CC7-956C-2FE88889108A}" dt="2020-12-13T11:32:26.448" v="2683" actId="478"/>
          <ac:picMkLst>
            <pc:docMk/>
            <pc:sldMk cId="2936337643" sldId="284"/>
            <ac:picMk id="150" creationId="{47991308-4C54-40F7-BF45-0092C09F6D78}"/>
          </ac:picMkLst>
        </pc:picChg>
        <pc:picChg chg="add mod">
          <ac:chgData name="Thomas Stensitzki" userId="75cafe6b-2f2a-469b-85c4-eec3b9c972ba" providerId="ADAL" clId="{F338BDC2-3B44-4CC7-956C-2FE88889108A}" dt="2020-12-13T11:38:47.461" v="2734" actId="164"/>
          <ac:picMkLst>
            <pc:docMk/>
            <pc:sldMk cId="2936337643" sldId="284"/>
            <ac:picMk id="151" creationId="{3628BD96-3049-4FA4-861C-CFDEA092780C}"/>
          </ac:picMkLst>
        </pc:picChg>
        <pc:picChg chg="add mod">
          <ac:chgData name="Thomas Stensitzki" userId="75cafe6b-2f2a-469b-85c4-eec3b9c972ba" providerId="ADAL" clId="{F338BDC2-3B44-4CC7-956C-2FE88889108A}" dt="2020-12-13T11:38:29.311" v="2732" actId="1076"/>
          <ac:picMkLst>
            <pc:docMk/>
            <pc:sldMk cId="2936337643" sldId="284"/>
            <ac:picMk id="152" creationId="{8D645F10-F303-4A35-956D-DABD7C1BB3C5}"/>
          </ac:picMkLst>
        </pc:picChg>
        <pc:picChg chg="add mod">
          <ac:chgData name="Thomas Stensitzki" userId="75cafe6b-2f2a-469b-85c4-eec3b9c972ba" providerId="ADAL" clId="{F338BDC2-3B44-4CC7-956C-2FE88889108A}" dt="2020-12-13T11:49:51.509" v="3355" actId="1076"/>
          <ac:picMkLst>
            <pc:docMk/>
            <pc:sldMk cId="2936337643" sldId="284"/>
            <ac:picMk id="153" creationId="{D55D21FA-1CB5-4E0E-B79E-A3DF0ED28215}"/>
          </ac:picMkLst>
        </pc:picChg>
        <pc:cxnChg chg="mod">
          <ac:chgData name="Thomas Stensitzki" userId="75cafe6b-2f2a-469b-85c4-eec3b9c972ba" providerId="ADAL" clId="{F338BDC2-3B44-4CC7-956C-2FE88889108A}" dt="2020-12-13T09:53:27.644" v="1269" actId="478"/>
          <ac:cxnSpMkLst>
            <pc:docMk/>
            <pc:sldMk cId="2936337643" sldId="284"/>
            <ac:cxnSpMk id="34" creationId="{515CF7C1-94CE-499C-AFF4-2B15C93C82AB}"/>
          </ac:cxnSpMkLst>
        </pc:cxnChg>
        <pc:cxnChg chg="mod">
          <ac:chgData name="Thomas Stensitzki" userId="75cafe6b-2f2a-469b-85c4-eec3b9c972ba" providerId="ADAL" clId="{F338BDC2-3B44-4CC7-956C-2FE88889108A}" dt="2020-12-13T09:53:27.644" v="1269" actId="478"/>
          <ac:cxnSpMkLst>
            <pc:docMk/>
            <pc:sldMk cId="2936337643" sldId="284"/>
            <ac:cxnSpMk id="38" creationId="{544056BC-2E15-4C6A-9FD2-16CA94515D11}"/>
          </ac:cxnSpMkLst>
        </pc:cxnChg>
        <pc:cxnChg chg="add del mod">
          <ac:chgData name="Thomas Stensitzki" userId="75cafe6b-2f2a-469b-85c4-eec3b9c972ba" providerId="ADAL" clId="{F338BDC2-3B44-4CC7-956C-2FE88889108A}" dt="2020-12-13T10:06:38.009" v="1852" actId="478"/>
          <ac:cxnSpMkLst>
            <pc:docMk/>
            <pc:sldMk cId="2936337643" sldId="284"/>
            <ac:cxnSpMk id="77" creationId="{BE02D305-7AF7-4D85-87C9-E498AF85DCE6}"/>
          </ac:cxnSpMkLst>
        </pc:cxnChg>
        <pc:cxnChg chg="del">
          <ac:chgData name="Thomas Stensitzki" userId="75cafe6b-2f2a-469b-85c4-eec3b9c972ba" providerId="ADAL" clId="{F338BDC2-3B44-4CC7-956C-2FE88889108A}" dt="2020-12-13T09:53:27.644" v="1269" actId="478"/>
          <ac:cxnSpMkLst>
            <pc:docMk/>
            <pc:sldMk cId="2936337643" sldId="284"/>
            <ac:cxnSpMk id="88" creationId="{4945F103-4D75-4E69-9BA1-F23E51723AD8}"/>
          </ac:cxnSpMkLst>
        </pc:cxnChg>
        <pc:cxnChg chg="add mod">
          <ac:chgData name="Thomas Stensitzki" userId="75cafe6b-2f2a-469b-85c4-eec3b9c972ba" providerId="ADAL" clId="{F338BDC2-3B44-4CC7-956C-2FE88889108A}" dt="2020-12-13T10:29:36.229" v="2178" actId="1076"/>
          <ac:cxnSpMkLst>
            <pc:docMk/>
            <pc:sldMk cId="2936337643" sldId="284"/>
            <ac:cxnSpMk id="89" creationId="{1A3190EB-AC8A-43BC-A0E3-3651E7777721}"/>
          </ac:cxnSpMkLst>
        </pc:cxnChg>
      </pc:sldChg>
      <pc:sldChg chg="modSp add mod modAnim">
        <pc:chgData name="Thomas Stensitzki" userId="75cafe6b-2f2a-469b-85c4-eec3b9c972ba" providerId="ADAL" clId="{F338BDC2-3B44-4CC7-956C-2FE88889108A}" dt="2020-12-13T11:54:27.131" v="3736" actId="27636"/>
        <pc:sldMkLst>
          <pc:docMk/>
          <pc:sldMk cId="1410004524" sldId="285"/>
        </pc:sldMkLst>
        <pc:spChg chg="mod">
          <ac:chgData name="Thomas Stensitzki" userId="75cafe6b-2f2a-469b-85c4-eec3b9c972ba" providerId="ADAL" clId="{F338BDC2-3B44-4CC7-956C-2FE88889108A}" dt="2020-12-13T11:41:30.414" v="2754" actId="20577"/>
          <ac:spMkLst>
            <pc:docMk/>
            <pc:sldMk cId="1410004524" sldId="285"/>
            <ac:spMk id="7" creationId="{DECEB6B6-B5D5-4B5B-BBF3-49FAE1F90F1F}"/>
          </ac:spMkLst>
        </pc:spChg>
        <pc:spChg chg="mod">
          <ac:chgData name="Thomas Stensitzki" userId="75cafe6b-2f2a-469b-85c4-eec3b9c972ba" providerId="ADAL" clId="{F338BDC2-3B44-4CC7-956C-2FE88889108A}" dt="2020-12-13T11:54:27.131" v="3736" actId="27636"/>
          <ac:spMkLst>
            <pc:docMk/>
            <pc:sldMk cId="1410004524" sldId="285"/>
            <ac:spMk id="8" creationId="{B6D3E901-AF0C-4750-A333-85A65F610443}"/>
          </ac:spMkLst>
        </pc:spChg>
      </pc:sldChg>
      <pc:sldChg chg="modSp add mod modAnim">
        <pc:chgData name="Thomas Stensitzki" userId="75cafe6b-2f2a-469b-85c4-eec3b9c972ba" providerId="ADAL" clId="{F338BDC2-3B44-4CC7-956C-2FE88889108A}" dt="2020-12-13T11:54:34.249" v="3739" actId="113"/>
        <pc:sldMkLst>
          <pc:docMk/>
          <pc:sldMk cId="3034575554" sldId="286"/>
        </pc:sldMkLst>
        <pc:spChg chg="mod">
          <ac:chgData name="Thomas Stensitzki" userId="75cafe6b-2f2a-469b-85c4-eec3b9c972ba" providerId="ADAL" clId="{F338BDC2-3B44-4CC7-956C-2FE88889108A}" dt="2020-12-13T11:42:02.278" v="2786" actId="6549"/>
          <ac:spMkLst>
            <pc:docMk/>
            <pc:sldMk cId="3034575554" sldId="286"/>
            <ac:spMk id="7" creationId="{DECEB6B6-B5D5-4B5B-BBF3-49FAE1F90F1F}"/>
          </ac:spMkLst>
        </pc:spChg>
        <pc:spChg chg="mod">
          <ac:chgData name="Thomas Stensitzki" userId="75cafe6b-2f2a-469b-85c4-eec3b9c972ba" providerId="ADAL" clId="{F338BDC2-3B44-4CC7-956C-2FE88889108A}" dt="2020-12-13T11:54:34.249" v="3739" actId="113"/>
          <ac:spMkLst>
            <pc:docMk/>
            <pc:sldMk cId="3034575554" sldId="286"/>
            <ac:spMk id="8" creationId="{B6D3E901-AF0C-4750-A333-85A65F610443}"/>
          </ac:spMkLst>
        </pc:spChg>
      </pc:sldChg>
    </pc:docChg>
  </pc:docChgLst>
  <pc:docChgLst>
    <pc:chgData name="Thomas Stensitzki" userId="75cafe6b-2f2a-469b-85c4-eec3b9c972ba" providerId="ADAL" clId="{20732594-E247-4235-B6E6-9A258289F144}"/>
    <pc:docChg chg="undo custSel addSld delSld modSld modMainMaster modSection">
      <pc:chgData name="Thomas Stensitzki" userId="75cafe6b-2f2a-469b-85c4-eec3b9c972ba" providerId="ADAL" clId="{20732594-E247-4235-B6E6-9A258289F144}" dt="2020-05-17T13:29:01.304" v="4190" actId="729"/>
      <pc:docMkLst>
        <pc:docMk/>
      </pc:docMkLst>
      <pc:sldChg chg="modTransition modAnim">
        <pc:chgData name="Thomas Stensitzki" userId="75cafe6b-2f2a-469b-85c4-eec3b9c972ba" providerId="ADAL" clId="{20732594-E247-4235-B6E6-9A258289F144}" dt="2020-05-17T13:17:14.412" v="4189"/>
        <pc:sldMkLst>
          <pc:docMk/>
          <pc:sldMk cId="1331178014" sldId="256"/>
        </pc:sldMkLst>
      </pc:sldChg>
      <pc:sldChg chg="modTransition">
        <pc:chgData name="Thomas Stensitzki" userId="75cafe6b-2f2a-469b-85c4-eec3b9c972ba" providerId="ADAL" clId="{20732594-E247-4235-B6E6-9A258289F144}" dt="2020-05-16T14:27:43.294" v="3736"/>
        <pc:sldMkLst>
          <pc:docMk/>
          <pc:sldMk cId="2213403937" sldId="259"/>
        </pc:sldMkLst>
      </pc:sldChg>
      <pc:sldChg chg="modSp mod modTransition modShow">
        <pc:chgData name="Thomas Stensitzki" userId="75cafe6b-2f2a-469b-85c4-eec3b9c972ba" providerId="ADAL" clId="{20732594-E247-4235-B6E6-9A258289F144}" dt="2020-05-17T13:29:01.304" v="4190" actId="729"/>
        <pc:sldMkLst>
          <pc:docMk/>
          <pc:sldMk cId="2987849416" sldId="261"/>
        </pc:sldMkLst>
        <pc:spChg chg="mod">
          <ac:chgData name="Thomas Stensitzki" userId="75cafe6b-2f2a-469b-85c4-eec3b9c972ba" providerId="ADAL" clId="{20732594-E247-4235-B6E6-9A258289F144}" dt="2020-05-16T14:10:13.681" v="3019" actId="20577"/>
          <ac:spMkLst>
            <pc:docMk/>
            <pc:sldMk cId="2987849416" sldId="261"/>
            <ac:spMk id="3" creationId="{00000000-0000-0000-0000-000000000000}"/>
          </ac:spMkLst>
        </pc:spChg>
      </pc:sldChg>
      <pc:sldChg chg="modTransition">
        <pc:chgData name="Thomas Stensitzki" userId="75cafe6b-2f2a-469b-85c4-eec3b9c972ba" providerId="ADAL" clId="{20732594-E247-4235-B6E6-9A258289F144}" dt="2020-05-16T14:27:43.294" v="3736"/>
        <pc:sldMkLst>
          <pc:docMk/>
          <pc:sldMk cId="2223191929" sldId="262"/>
        </pc:sldMkLst>
      </pc:sldChg>
      <pc:sldChg chg="addSp delSp modSp new mod modTransition modClrScheme modAnim chgLayout">
        <pc:chgData name="Thomas Stensitzki" userId="75cafe6b-2f2a-469b-85c4-eec3b9c972ba" providerId="ADAL" clId="{20732594-E247-4235-B6E6-9A258289F144}" dt="2020-05-17T10:55:49.201" v="3842"/>
        <pc:sldMkLst>
          <pc:docMk/>
          <pc:sldMk cId="1216927561" sldId="263"/>
        </pc:sldMkLst>
        <pc:spChg chg="del mod ord">
          <ac:chgData name="Thomas Stensitzki" userId="75cafe6b-2f2a-469b-85c4-eec3b9c972ba" providerId="ADAL" clId="{20732594-E247-4235-B6E6-9A258289F144}" dt="2020-05-16T13:04:39.074" v="1" actId="700"/>
          <ac:spMkLst>
            <pc:docMk/>
            <pc:sldMk cId="1216927561" sldId="263"/>
            <ac:spMk id="2" creationId="{336C87B3-6245-4A2C-8A98-24E0896D36A8}"/>
          </ac:spMkLst>
        </pc:spChg>
        <pc:spChg chg="del mod ord">
          <ac:chgData name="Thomas Stensitzki" userId="75cafe6b-2f2a-469b-85c4-eec3b9c972ba" providerId="ADAL" clId="{20732594-E247-4235-B6E6-9A258289F144}" dt="2020-05-16T13:04:39.074" v="1" actId="700"/>
          <ac:spMkLst>
            <pc:docMk/>
            <pc:sldMk cId="1216927561" sldId="263"/>
            <ac:spMk id="3" creationId="{BD6551A1-6144-47CE-835E-2426B75A0ED0}"/>
          </ac:spMkLst>
        </pc:spChg>
        <pc:spChg chg="add mod ord">
          <ac:chgData name="Thomas Stensitzki" userId="75cafe6b-2f2a-469b-85c4-eec3b9c972ba" providerId="ADAL" clId="{20732594-E247-4235-B6E6-9A258289F144}" dt="2020-05-16T13:07:13.841" v="34" actId="20577"/>
          <ac:spMkLst>
            <pc:docMk/>
            <pc:sldMk cId="1216927561" sldId="263"/>
            <ac:spMk id="4" creationId="{C74D870A-5EE2-4DC8-A94C-78E832B3789F}"/>
          </ac:spMkLst>
        </pc:spChg>
        <pc:spChg chg="add mod ord">
          <ac:chgData name="Thomas Stensitzki" userId="75cafe6b-2f2a-469b-85c4-eec3b9c972ba" providerId="ADAL" clId="{20732594-E247-4235-B6E6-9A258289F144}" dt="2020-05-16T13:25:12.459" v="944" actId="20577"/>
          <ac:spMkLst>
            <pc:docMk/>
            <pc:sldMk cId="1216927561" sldId="263"/>
            <ac:spMk id="5" creationId="{8C05C1B6-574D-4CAA-8CF5-E554268A78FC}"/>
          </ac:spMkLst>
        </pc:spChg>
        <pc:spChg chg="add mod">
          <ac:chgData name="Thomas Stensitzki" userId="75cafe6b-2f2a-469b-85c4-eec3b9c972ba" providerId="ADAL" clId="{20732594-E247-4235-B6E6-9A258289F144}" dt="2020-05-17T10:54:05.032" v="3828" actId="164"/>
          <ac:spMkLst>
            <pc:docMk/>
            <pc:sldMk cId="1216927561" sldId="263"/>
            <ac:spMk id="13" creationId="{5F7ABE99-3B08-4972-A67C-2BF6D933CACB}"/>
          </ac:spMkLst>
        </pc:spChg>
        <pc:spChg chg="add mod">
          <ac:chgData name="Thomas Stensitzki" userId="75cafe6b-2f2a-469b-85c4-eec3b9c972ba" providerId="ADAL" clId="{20732594-E247-4235-B6E6-9A258289F144}" dt="2020-05-17T10:54:09.856" v="3829" actId="164"/>
          <ac:spMkLst>
            <pc:docMk/>
            <pc:sldMk cId="1216927561" sldId="263"/>
            <ac:spMk id="14" creationId="{2EE95741-13B9-4637-B596-2E67A6436CFF}"/>
          </ac:spMkLst>
        </pc:spChg>
        <pc:spChg chg="add mod">
          <ac:chgData name="Thomas Stensitzki" userId="75cafe6b-2f2a-469b-85c4-eec3b9c972ba" providerId="ADAL" clId="{20732594-E247-4235-B6E6-9A258289F144}" dt="2020-05-17T10:54:14.773" v="3830" actId="164"/>
          <ac:spMkLst>
            <pc:docMk/>
            <pc:sldMk cId="1216927561" sldId="263"/>
            <ac:spMk id="15" creationId="{3299ECF9-7C0D-44A1-8921-2B98181BB764}"/>
          </ac:spMkLst>
        </pc:spChg>
        <pc:spChg chg="add mod">
          <ac:chgData name="Thomas Stensitzki" userId="75cafe6b-2f2a-469b-85c4-eec3b9c972ba" providerId="ADAL" clId="{20732594-E247-4235-B6E6-9A258289F144}" dt="2020-05-17T10:54:25.341" v="3831" actId="164"/>
          <ac:spMkLst>
            <pc:docMk/>
            <pc:sldMk cId="1216927561" sldId="263"/>
            <ac:spMk id="20" creationId="{190ED303-5CAC-4DC4-AE83-8974A99915E0}"/>
          </ac:spMkLst>
        </pc:spChg>
        <pc:spChg chg="add mod">
          <ac:chgData name="Thomas Stensitzki" userId="75cafe6b-2f2a-469b-85c4-eec3b9c972ba" providerId="ADAL" clId="{20732594-E247-4235-B6E6-9A258289F144}" dt="2020-05-16T13:21:57.475" v="653" actId="113"/>
          <ac:spMkLst>
            <pc:docMk/>
            <pc:sldMk cId="1216927561" sldId="263"/>
            <ac:spMk id="21" creationId="{FA181848-19BC-404D-81F7-7B323722826E}"/>
          </ac:spMkLst>
        </pc:spChg>
        <pc:grpChg chg="add mod">
          <ac:chgData name="Thomas Stensitzki" userId="75cafe6b-2f2a-469b-85c4-eec3b9c972ba" providerId="ADAL" clId="{20732594-E247-4235-B6E6-9A258289F144}" dt="2020-05-17T10:54:05.032" v="3828" actId="164"/>
          <ac:grpSpMkLst>
            <pc:docMk/>
            <pc:sldMk cId="1216927561" sldId="263"/>
            <ac:grpSpMk id="2" creationId="{5085ED8B-5F7F-4D9B-B94B-88D16DEFED74}"/>
          </ac:grpSpMkLst>
        </pc:grpChg>
        <pc:grpChg chg="add mod">
          <ac:chgData name="Thomas Stensitzki" userId="75cafe6b-2f2a-469b-85c4-eec3b9c972ba" providerId="ADAL" clId="{20732594-E247-4235-B6E6-9A258289F144}" dt="2020-05-17T10:54:09.856" v="3829" actId="164"/>
          <ac:grpSpMkLst>
            <pc:docMk/>
            <pc:sldMk cId="1216927561" sldId="263"/>
            <ac:grpSpMk id="3" creationId="{876709B1-E228-4090-A191-17FFE227836E}"/>
          </ac:grpSpMkLst>
        </pc:grpChg>
        <pc:grpChg chg="add mod">
          <ac:chgData name="Thomas Stensitzki" userId="75cafe6b-2f2a-469b-85c4-eec3b9c972ba" providerId="ADAL" clId="{20732594-E247-4235-B6E6-9A258289F144}" dt="2020-05-17T10:54:14.773" v="3830" actId="164"/>
          <ac:grpSpMkLst>
            <pc:docMk/>
            <pc:sldMk cId="1216927561" sldId="263"/>
            <ac:grpSpMk id="8" creationId="{FE15FDF0-A757-4593-9326-B2F38ABBE1E9}"/>
          </ac:grpSpMkLst>
        </pc:grpChg>
        <pc:grpChg chg="add mod">
          <ac:chgData name="Thomas Stensitzki" userId="75cafe6b-2f2a-469b-85c4-eec3b9c972ba" providerId="ADAL" clId="{20732594-E247-4235-B6E6-9A258289F144}" dt="2020-05-17T10:54:25.341" v="3831" actId="164"/>
          <ac:grpSpMkLst>
            <pc:docMk/>
            <pc:sldMk cId="1216927561" sldId="263"/>
            <ac:grpSpMk id="16" creationId="{81059787-9107-41B3-B320-982830E45196}"/>
          </ac:grpSpMkLst>
        </pc:grpChg>
        <pc:picChg chg="add mod">
          <ac:chgData name="Thomas Stensitzki" userId="75cafe6b-2f2a-469b-85c4-eec3b9c972ba" providerId="ADAL" clId="{20732594-E247-4235-B6E6-9A258289F144}" dt="2020-05-16T13:14:47.743" v="442" actId="1076"/>
          <ac:picMkLst>
            <pc:docMk/>
            <pc:sldMk cId="1216927561" sldId="263"/>
            <ac:picMk id="6" creationId="{759E8554-35EC-40A9-9A77-33896F87CD18}"/>
          </ac:picMkLst>
        </pc:picChg>
        <pc:picChg chg="add mod">
          <ac:chgData name="Thomas Stensitzki" userId="75cafe6b-2f2a-469b-85c4-eec3b9c972ba" providerId="ADAL" clId="{20732594-E247-4235-B6E6-9A258289F144}" dt="2020-05-16T13:18:49.501" v="520" actId="1076"/>
          <ac:picMkLst>
            <pc:docMk/>
            <pc:sldMk cId="1216927561" sldId="263"/>
            <ac:picMk id="7" creationId="{A07B003B-61B9-423A-BD6A-9DDCE0B5134B}"/>
          </ac:picMkLst>
        </pc:picChg>
        <pc:cxnChg chg="add mod">
          <ac:chgData name="Thomas Stensitzki" userId="75cafe6b-2f2a-469b-85c4-eec3b9c972ba" providerId="ADAL" clId="{20732594-E247-4235-B6E6-9A258289F144}" dt="2020-05-17T10:54:05.032" v="3828" actId="164"/>
          <ac:cxnSpMkLst>
            <pc:docMk/>
            <pc:sldMk cId="1216927561" sldId="263"/>
            <ac:cxnSpMk id="9" creationId="{FA39B4F6-5EA6-4C9E-B4A6-85CF1E5B5815}"/>
          </ac:cxnSpMkLst>
        </pc:cxnChg>
        <pc:cxnChg chg="add mod">
          <ac:chgData name="Thomas Stensitzki" userId="75cafe6b-2f2a-469b-85c4-eec3b9c972ba" providerId="ADAL" clId="{20732594-E247-4235-B6E6-9A258289F144}" dt="2020-05-17T10:54:09.856" v="3829" actId="164"/>
          <ac:cxnSpMkLst>
            <pc:docMk/>
            <pc:sldMk cId="1216927561" sldId="263"/>
            <ac:cxnSpMk id="10" creationId="{01EADE50-BBBB-4A19-9F25-EC23B1CE0A92}"/>
          </ac:cxnSpMkLst>
        </pc:cxnChg>
        <pc:cxnChg chg="add mod">
          <ac:chgData name="Thomas Stensitzki" userId="75cafe6b-2f2a-469b-85c4-eec3b9c972ba" providerId="ADAL" clId="{20732594-E247-4235-B6E6-9A258289F144}" dt="2020-05-17T10:54:14.773" v="3830" actId="164"/>
          <ac:cxnSpMkLst>
            <pc:docMk/>
            <pc:sldMk cId="1216927561" sldId="263"/>
            <ac:cxnSpMk id="11" creationId="{0C9FBD16-0DB2-4EA8-83D7-9DF2F451C1DB}"/>
          </ac:cxnSpMkLst>
        </pc:cxnChg>
        <pc:cxnChg chg="add mod">
          <ac:chgData name="Thomas Stensitzki" userId="75cafe6b-2f2a-469b-85c4-eec3b9c972ba" providerId="ADAL" clId="{20732594-E247-4235-B6E6-9A258289F144}" dt="2020-05-17T10:54:25.341" v="3831" actId="164"/>
          <ac:cxnSpMkLst>
            <pc:docMk/>
            <pc:sldMk cId="1216927561" sldId="263"/>
            <ac:cxnSpMk id="12" creationId="{1A486923-ED1F-48D5-AFA3-4EA329B35820}"/>
          </ac:cxnSpMkLst>
        </pc:cxnChg>
      </pc:sldChg>
      <pc:sldChg chg="add del">
        <pc:chgData name="Thomas Stensitzki" userId="75cafe6b-2f2a-469b-85c4-eec3b9c972ba" providerId="ADAL" clId="{20732594-E247-4235-B6E6-9A258289F144}" dt="2020-05-16T13:14:06.424" v="438"/>
        <pc:sldMkLst>
          <pc:docMk/>
          <pc:sldMk cId="2185102325" sldId="264"/>
        </pc:sldMkLst>
      </pc:sldChg>
      <pc:sldChg chg="addSp delSp modSp new mod modTransition modAnim">
        <pc:chgData name="Thomas Stensitzki" userId="75cafe6b-2f2a-469b-85c4-eec3b9c972ba" providerId="ADAL" clId="{20732594-E247-4235-B6E6-9A258289F144}" dt="2020-05-17T13:05:16.494" v="3981" actId="20577"/>
        <pc:sldMkLst>
          <pc:docMk/>
          <pc:sldMk cId="2891192093" sldId="264"/>
        </pc:sldMkLst>
        <pc:spChg chg="mod">
          <ac:chgData name="Thomas Stensitzki" userId="75cafe6b-2f2a-469b-85c4-eec3b9c972ba" providerId="ADAL" clId="{20732594-E247-4235-B6E6-9A258289F144}" dt="2020-05-16T13:22:37.634" v="748" actId="20577"/>
          <ac:spMkLst>
            <pc:docMk/>
            <pc:sldMk cId="2891192093" sldId="264"/>
            <ac:spMk id="2" creationId="{9C01191A-C028-4B34-8578-B4A5A049BD70}"/>
          </ac:spMkLst>
        </pc:spChg>
        <pc:spChg chg="mod">
          <ac:chgData name="Thomas Stensitzki" userId="75cafe6b-2f2a-469b-85c4-eec3b9c972ba" providerId="ADAL" clId="{20732594-E247-4235-B6E6-9A258289F144}" dt="2020-05-17T13:05:16.494" v="3981" actId="20577"/>
          <ac:spMkLst>
            <pc:docMk/>
            <pc:sldMk cId="2891192093" sldId="264"/>
            <ac:spMk id="3" creationId="{9F2654DB-0DD0-4511-8179-3FCE4F01A7E8}"/>
          </ac:spMkLst>
        </pc:spChg>
        <pc:spChg chg="add del mod">
          <ac:chgData name="Thomas Stensitzki" userId="75cafe6b-2f2a-469b-85c4-eec3b9c972ba" providerId="ADAL" clId="{20732594-E247-4235-B6E6-9A258289F144}" dt="2020-05-16T13:39:13.784" v="1300" actId="478"/>
          <ac:spMkLst>
            <pc:docMk/>
            <pc:sldMk cId="2891192093" sldId="264"/>
            <ac:spMk id="4" creationId="{72744B7C-FEB4-4B23-A36C-A75E7E7476B4}"/>
          </ac:spMkLst>
        </pc:spChg>
        <pc:spChg chg="add del mod">
          <ac:chgData name="Thomas Stensitzki" userId="75cafe6b-2f2a-469b-85c4-eec3b9c972ba" providerId="ADAL" clId="{20732594-E247-4235-B6E6-9A258289F144}" dt="2020-05-16T13:38:40.889" v="1281" actId="478"/>
          <ac:spMkLst>
            <pc:docMk/>
            <pc:sldMk cId="2891192093" sldId="264"/>
            <ac:spMk id="5" creationId="{B8975315-0949-4B4D-927D-89413C2F1319}"/>
          </ac:spMkLst>
        </pc:spChg>
        <pc:spChg chg="add del mod">
          <ac:chgData name="Thomas Stensitzki" userId="75cafe6b-2f2a-469b-85c4-eec3b9c972ba" providerId="ADAL" clId="{20732594-E247-4235-B6E6-9A258289F144}" dt="2020-05-16T13:39:12.372" v="1299" actId="478"/>
          <ac:spMkLst>
            <pc:docMk/>
            <pc:sldMk cId="2891192093" sldId="264"/>
            <ac:spMk id="6" creationId="{F2D9681D-420F-410A-9F79-288E073C41F5}"/>
          </ac:spMkLst>
        </pc:spChg>
      </pc:sldChg>
      <pc:sldChg chg="addSp delSp modSp new mod modTransition modAnim">
        <pc:chgData name="Thomas Stensitzki" userId="75cafe6b-2f2a-469b-85c4-eec3b9c972ba" providerId="ADAL" clId="{20732594-E247-4235-B6E6-9A258289F144}" dt="2020-05-17T11:04:02.209" v="3977"/>
        <pc:sldMkLst>
          <pc:docMk/>
          <pc:sldMk cId="1125716619" sldId="265"/>
        </pc:sldMkLst>
        <pc:spChg chg="mod">
          <ac:chgData name="Thomas Stensitzki" userId="75cafe6b-2f2a-469b-85c4-eec3b9c972ba" providerId="ADAL" clId="{20732594-E247-4235-B6E6-9A258289F144}" dt="2020-05-16T13:39:37.821" v="1350" actId="20577"/>
          <ac:spMkLst>
            <pc:docMk/>
            <pc:sldMk cId="1125716619" sldId="265"/>
            <ac:spMk id="2" creationId="{BBB36149-971B-41FE-8F5A-F393F4A82BEA}"/>
          </ac:spMkLst>
        </pc:spChg>
        <pc:spChg chg="del">
          <ac:chgData name="Thomas Stensitzki" userId="75cafe6b-2f2a-469b-85c4-eec3b9c972ba" providerId="ADAL" clId="{20732594-E247-4235-B6E6-9A258289F144}" dt="2020-05-16T13:41:27.922" v="1359" actId="3680"/>
          <ac:spMkLst>
            <pc:docMk/>
            <pc:sldMk cId="1125716619" sldId="265"/>
            <ac:spMk id="3" creationId="{62FCB78D-0F62-44B8-97A5-77E637635CA2}"/>
          </ac:spMkLst>
        </pc:spChg>
        <pc:spChg chg="add mod">
          <ac:chgData name="Thomas Stensitzki" userId="75cafe6b-2f2a-469b-85c4-eec3b9c972ba" providerId="ADAL" clId="{20732594-E247-4235-B6E6-9A258289F144}" dt="2020-05-16T14:29:22.883" v="3743" actId="255"/>
          <ac:spMkLst>
            <pc:docMk/>
            <pc:sldMk cId="1125716619" sldId="265"/>
            <ac:spMk id="6" creationId="{7AC069B9-C380-41A6-898E-628A8748DC24}"/>
          </ac:spMkLst>
        </pc:spChg>
        <pc:graphicFrameChg chg="add mod ord modGraphic">
          <ac:chgData name="Thomas Stensitzki" userId="75cafe6b-2f2a-469b-85c4-eec3b9c972ba" providerId="ADAL" clId="{20732594-E247-4235-B6E6-9A258289F144}" dt="2020-05-16T14:08:46.577" v="2966" actId="20577"/>
          <ac:graphicFrameMkLst>
            <pc:docMk/>
            <pc:sldMk cId="1125716619" sldId="265"/>
            <ac:graphicFrameMk id="4" creationId="{0133B8A1-1859-452D-8C59-1A1B6C4E2279}"/>
          </ac:graphicFrameMkLst>
        </pc:graphicFrameChg>
      </pc:sldChg>
      <pc:sldChg chg="addSp modSp new mod modTransition modAnim">
        <pc:chgData name="Thomas Stensitzki" userId="75cafe6b-2f2a-469b-85c4-eec3b9c972ba" providerId="ADAL" clId="{20732594-E247-4235-B6E6-9A258289F144}" dt="2020-05-17T13:07:51.160" v="4001" actId="20577"/>
        <pc:sldMkLst>
          <pc:docMk/>
          <pc:sldMk cId="255511709" sldId="266"/>
        </pc:sldMkLst>
        <pc:spChg chg="mod">
          <ac:chgData name="Thomas Stensitzki" userId="75cafe6b-2f2a-469b-85c4-eec3b9c972ba" providerId="ADAL" clId="{20732594-E247-4235-B6E6-9A258289F144}" dt="2020-05-16T13:45:26.621" v="1671" actId="6549"/>
          <ac:spMkLst>
            <pc:docMk/>
            <pc:sldMk cId="255511709" sldId="266"/>
            <ac:spMk id="2" creationId="{A1DE6F9B-AC8E-48AD-B64E-6CFC0CC23B78}"/>
          </ac:spMkLst>
        </pc:spChg>
        <pc:spChg chg="mod">
          <ac:chgData name="Thomas Stensitzki" userId="75cafe6b-2f2a-469b-85c4-eec3b9c972ba" providerId="ADAL" clId="{20732594-E247-4235-B6E6-9A258289F144}" dt="2020-05-17T13:07:51.160" v="4001" actId="20577"/>
          <ac:spMkLst>
            <pc:docMk/>
            <pc:sldMk cId="255511709" sldId="266"/>
            <ac:spMk id="3" creationId="{4F8763DC-4C93-4C82-87B0-553B64DBCDF7}"/>
          </ac:spMkLst>
        </pc:spChg>
        <pc:spChg chg="add mod">
          <ac:chgData name="Thomas Stensitzki" userId="75cafe6b-2f2a-469b-85c4-eec3b9c972ba" providerId="ADAL" clId="{20732594-E247-4235-B6E6-9A258289F144}" dt="2020-05-17T11:03:11.528" v="3973" actId="14100"/>
          <ac:spMkLst>
            <pc:docMk/>
            <pc:sldMk cId="255511709" sldId="266"/>
            <ac:spMk id="4" creationId="{03C74102-54B6-4918-A646-6D5D5F77F20B}"/>
          </ac:spMkLst>
        </pc:spChg>
      </pc:sldChg>
      <pc:sldChg chg="modSp new mod modTransition modAnim">
        <pc:chgData name="Thomas Stensitzki" userId="75cafe6b-2f2a-469b-85c4-eec3b9c972ba" providerId="ADAL" clId="{20732594-E247-4235-B6E6-9A258289F144}" dt="2020-05-17T13:11:48.436" v="4060" actId="6549"/>
        <pc:sldMkLst>
          <pc:docMk/>
          <pc:sldMk cId="46463388" sldId="267"/>
        </pc:sldMkLst>
        <pc:spChg chg="mod">
          <ac:chgData name="Thomas Stensitzki" userId="75cafe6b-2f2a-469b-85c4-eec3b9c972ba" providerId="ADAL" clId="{20732594-E247-4235-B6E6-9A258289F144}" dt="2020-05-16T13:57:48.799" v="2227"/>
          <ac:spMkLst>
            <pc:docMk/>
            <pc:sldMk cId="46463388" sldId="267"/>
            <ac:spMk id="2" creationId="{316B1DAD-894B-4BC5-81BA-DD7F9B1B913E}"/>
          </ac:spMkLst>
        </pc:spChg>
        <pc:spChg chg="mod">
          <ac:chgData name="Thomas Stensitzki" userId="75cafe6b-2f2a-469b-85c4-eec3b9c972ba" providerId="ADAL" clId="{20732594-E247-4235-B6E6-9A258289F144}" dt="2020-05-17T13:11:48.436" v="4060" actId="6549"/>
          <ac:spMkLst>
            <pc:docMk/>
            <pc:sldMk cId="46463388" sldId="267"/>
            <ac:spMk id="3" creationId="{81B4B2E0-4EDF-42B9-AE2E-8FA669C7B01C}"/>
          </ac:spMkLst>
        </pc:spChg>
      </pc:sldChg>
      <pc:sldChg chg="addSp modSp new mod modTransition modAnim">
        <pc:chgData name="Thomas Stensitzki" userId="75cafe6b-2f2a-469b-85c4-eec3b9c972ba" providerId="ADAL" clId="{20732594-E247-4235-B6E6-9A258289F144}" dt="2020-05-17T13:13:23.877" v="4188" actId="20577"/>
        <pc:sldMkLst>
          <pc:docMk/>
          <pc:sldMk cId="1180189243" sldId="268"/>
        </pc:sldMkLst>
        <pc:spChg chg="mod">
          <ac:chgData name="Thomas Stensitzki" userId="75cafe6b-2f2a-469b-85c4-eec3b9c972ba" providerId="ADAL" clId="{20732594-E247-4235-B6E6-9A258289F144}" dt="2020-05-16T14:09:19.452" v="2995" actId="21"/>
          <ac:spMkLst>
            <pc:docMk/>
            <pc:sldMk cId="1180189243" sldId="268"/>
            <ac:spMk id="2" creationId="{4DD3F7A9-257D-4BF3-9121-D0E89A2F2AEA}"/>
          </ac:spMkLst>
        </pc:spChg>
        <pc:spChg chg="mod">
          <ac:chgData name="Thomas Stensitzki" userId="75cafe6b-2f2a-469b-85c4-eec3b9c972ba" providerId="ADAL" clId="{20732594-E247-4235-B6E6-9A258289F144}" dt="2020-05-17T13:13:23.877" v="4188" actId="20577"/>
          <ac:spMkLst>
            <pc:docMk/>
            <pc:sldMk cId="1180189243" sldId="268"/>
            <ac:spMk id="3" creationId="{0DA036AE-58DD-403C-9D3A-A0580D0ED6C7}"/>
          </ac:spMkLst>
        </pc:spChg>
        <pc:spChg chg="add mod">
          <ac:chgData name="Thomas Stensitzki" userId="75cafe6b-2f2a-469b-85c4-eec3b9c972ba" providerId="ADAL" clId="{20732594-E247-4235-B6E6-9A258289F144}" dt="2020-05-16T14:29:28.491" v="3744" actId="255"/>
          <ac:spMkLst>
            <pc:docMk/>
            <pc:sldMk cId="1180189243" sldId="268"/>
            <ac:spMk id="4" creationId="{9489B37B-112C-4075-B5BC-993176FA7E43}"/>
          </ac:spMkLst>
        </pc:spChg>
      </pc:sldChg>
      <pc:sldChg chg="delSp modSp new del mod">
        <pc:chgData name="Thomas Stensitzki" userId="75cafe6b-2f2a-469b-85c4-eec3b9c972ba" providerId="ADAL" clId="{20732594-E247-4235-B6E6-9A258289F144}" dt="2020-05-16T14:34:10.353" v="3826" actId="2696"/>
        <pc:sldMkLst>
          <pc:docMk/>
          <pc:sldMk cId="1716668332" sldId="269"/>
        </pc:sldMkLst>
        <pc:spChg chg="mod">
          <ac:chgData name="Thomas Stensitzki" userId="75cafe6b-2f2a-469b-85c4-eec3b9c972ba" providerId="ADAL" clId="{20732594-E247-4235-B6E6-9A258289F144}" dt="2020-05-16T14:33:53.123" v="3824" actId="20577"/>
          <ac:spMkLst>
            <pc:docMk/>
            <pc:sldMk cId="1716668332" sldId="269"/>
            <ac:spMk id="2" creationId="{3C1CD512-E662-45F1-B716-E8A67344F276}"/>
          </ac:spMkLst>
        </pc:spChg>
        <pc:spChg chg="del">
          <ac:chgData name="Thomas Stensitzki" userId="75cafe6b-2f2a-469b-85c4-eec3b9c972ba" providerId="ADAL" clId="{20732594-E247-4235-B6E6-9A258289F144}" dt="2020-05-16T14:33:57.845" v="3825" actId="478"/>
          <ac:spMkLst>
            <pc:docMk/>
            <pc:sldMk cId="1716668332" sldId="269"/>
            <ac:spMk id="3" creationId="{B3334A89-56B1-4189-AC9B-AE439A4EF33B}"/>
          </ac:spMkLst>
        </pc:spChg>
      </pc:sldChg>
      <pc:sldChg chg="addSp delSp modSp new del mod modTransition modClrScheme chgLayout">
        <pc:chgData name="Thomas Stensitzki" userId="75cafe6b-2f2a-469b-85c4-eec3b9c972ba" providerId="ADAL" clId="{20732594-E247-4235-B6E6-9A258289F144}" dt="2020-05-16T14:32:15.992" v="3821" actId="2696"/>
        <pc:sldMkLst>
          <pc:docMk/>
          <pc:sldMk cId="1985551838" sldId="269"/>
        </pc:sldMkLst>
        <pc:spChg chg="del">
          <ac:chgData name="Thomas Stensitzki" userId="75cafe6b-2f2a-469b-85c4-eec3b9c972ba" providerId="ADAL" clId="{20732594-E247-4235-B6E6-9A258289F144}" dt="2020-05-16T14:27:56.188" v="3737" actId="700"/>
          <ac:spMkLst>
            <pc:docMk/>
            <pc:sldMk cId="1985551838" sldId="269"/>
            <ac:spMk id="2" creationId="{E40F4989-6A83-4413-943F-9483DE83EFDB}"/>
          </ac:spMkLst>
        </pc:spChg>
        <pc:spChg chg="del">
          <ac:chgData name="Thomas Stensitzki" userId="75cafe6b-2f2a-469b-85c4-eec3b9c972ba" providerId="ADAL" clId="{20732594-E247-4235-B6E6-9A258289F144}" dt="2020-05-16T14:27:56.188" v="3737" actId="700"/>
          <ac:spMkLst>
            <pc:docMk/>
            <pc:sldMk cId="1985551838" sldId="269"/>
            <ac:spMk id="3" creationId="{FB0D40F6-E932-496B-B654-FEC77D02A6C5}"/>
          </ac:spMkLst>
        </pc:spChg>
        <pc:spChg chg="add del mod ord">
          <ac:chgData name="Thomas Stensitzki" userId="75cafe6b-2f2a-469b-85c4-eec3b9c972ba" providerId="ADAL" clId="{20732594-E247-4235-B6E6-9A258289F144}" dt="2020-05-16T14:30:20.959" v="3754" actId="700"/>
          <ac:spMkLst>
            <pc:docMk/>
            <pc:sldMk cId="1985551838" sldId="269"/>
            <ac:spMk id="4" creationId="{053ABB6E-3B72-44E1-87E1-697D7F9BF095}"/>
          </ac:spMkLst>
        </pc:spChg>
        <pc:spChg chg="add del mod">
          <ac:chgData name="Thomas Stensitzki" userId="75cafe6b-2f2a-469b-85c4-eec3b9c972ba" providerId="ADAL" clId="{20732594-E247-4235-B6E6-9A258289F144}" dt="2020-05-16T14:30:20.959" v="3754" actId="700"/>
          <ac:spMkLst>
            <pc:docMk/>
            <pc:sldMk cId="1985551838" sldId="269"/>
            <ac:spMk id="5" creationId="{3EB22038-1538-49DC-A374-BD418FEC3D6C}"/>
          </ac:spMkLst>
        </pc:spChg>
        <pc:spChg chg="add mod ord">
          <ac:chgData name="Thomas Stensitzki" userId="75cafe6b-2f2a-469b-85c4-eec3b9c972ba" providerId="ADAL" clId="{20732594-E247-4235-B6E6-9A258289F144}" dt="2020-05-16T14:30:40.985" v="3802" actId="5793"/>
          <ac:spMkLst>
            <pc:docMk/>
            <pc:sldMk cId="1985551838" sldId="269"/>
            <ac:spMk id="6" creationId="{163DD090-2461-4D96-9911-AD1CA7BF1AC0}"/>
          </ac:spMkLst>
        </pc:spChg>
      </pc:sldChg>
      <pc:sldMasterChg chg="modSp modSldLayout">
        <pc:chgData name="Thomas Stensitzki" userId="75cafe6b-2f2a-469b-85c4-eec3b9c972ba" providerId="ADAL" clId="{20732594-E247-4235-B6E6-9A258289F144}" dt="2020-05-16T13:40:49.840" v="1358" actId="255"/>
        <pc:sldMasterMkLst>
          <pc:docMk/>
          <pc:sldMasterMk cId="247768031" sldId="2147483648"/>
        </pc:sldMasterMkLst>
        <pc:spChg chg="mod">
          <ac:chgData name="Thomas Stensitzki" userId="75cafe6b-2f2a-469b-85c4-eec3b9c972ba" providerId="ADAL" clId="{20732594-E247-4235-B6E6-9A258289F144}" dt="2020-05-16T13:40:34.560" v="1355" actId="113"/>
          <ac:spMkLst>
            <pc:docMk/>
            <pc:sldMasterMk cId="247768031" sldId="2147483648"/>
            <ac:spMk id="2" creationId="{E5DB7C2E-86C9-41B8-9035-77B6B1E05F36}"/>
          </ac:spMkLst>
        </pc:spChg>
        <pc:sldLayoutChg chg="modSp">
          <pc:chgData name="Thomas Stensitzki" userId="75cafe6b-2f2a-469b-85c4-eec3b9c972ba" providerId="ADAL" clId="{20732594-E247-4235-B6E6-9A258289F144}" dt="2020-05-16T13:40:40.441" v="1356" actId="255"/>
          <pc:sldLayoutMkLst>
            <pc:docMk/>
            <pc:sldMasterMk cId="247768031" sldId="2147483648"/>
            <pc:sldLayoutMk cId="3463841358" sldId="2147483652"/>
          </pc:sldLayoutMkLst>
          <pc:spChg chg="mod">
            <ac:chgData name="Thomas Stensitzki" userId="75cafe6b-2f2a-469b-85c4-eec3b9c972ba" providerId="ADAL" clId="{20732594-E247-4235-B6E6-9A258289F144}" dt="2020-05-16T13:40:40.441" v="1356" actId="255"/>
            <ac:spMkLst>
              <pc:docMk/>
              <pc:sldMasterMk cId="247768031" sldId="2147483648"/>
              <pc:sldLayoutMk cId="3463841358" sldId="2147483652"/>
              <ac:spMk id="2" creationId="{FF078657-D5B9-45EF-98F3-1B6B5B43A6B7}"/>
            </ac:spMkLst>
          </pc:spChg>
        </pc:sldLayoutChg>
        <pc:sldLayoutChg chg="modSp">
          <pc:chgData name="Thomas Stensitzki" userId="75cafe6b-2f2a-469b-85c4-eec3b9c972ba" providerId="ADAL" clId="{20732594-E247-4235-B6E6-9A258289F144}" dt="2020-05-16T13:40:46.371" v="1357" actId="255"/>
          <pc:sldLayoutMkLst>
            <pc:docMk/>
            <pc:sldMasterMk cId="247768031" sldId="2147483648"/>
            <pc:sldLayoutMk cId="4159535620" sldId="2147483653"/>
          </pc:sldLayoutMkLst>
          <pc:spChg chg="mod">
            <ac:chgData name="Thomas Stensitzki" userId="75cafe6b-2f2a-469b-85c4-eec3b9c972ba" providerId="ADAL" clId="{20732594-E247-4235-B6E6-9A258289F144}" dt="2020-05-16T13:40:46.371" v="1357" actId="255"/>
            <ac:spMkLst>
              <pc:docMk/>
              <pc:sldMasterMk cId="247768031" sldId="2147483648"/>
              <pc:sldLayoutMk cId="4159535620" sldId="2147483653"/>
              <ac:spMk id="2" creationId="{B3B15B7F-458A-43E9-9512-06B2864B13A3}"/>
            </ac:spMkLst>
          </pc:spChg>
        </pc:sldLayoutChg>
        <pc:sldLayoutChg chg="modSp">
          <pc:chgData name="Thomas Stensitzki" userId="75cafe6b-2f2a-469b-85c4-eec3b9c972ba" providerId="ADAL" clId="{20732594-E247-4235-B6E6-9A258289F144}" dt="2020-05-16T13:40:49.840" v="1358" actId="255"/>
          <pc:sldLayoutMkLst>
            <pc:docMk/>
            <pc:sldMasterMk cId="247768031" sldId="2147483648"/>
            <pc:sldLayoutMk cId="2932092287" sldId="2147483654"/>
          </pc:sldLayoutMkLst>
          <pc:spChg chg="mod">
            <ac:chgData name="Thomas Stensitzki" userId="75cafe6b-2f2a-469b-85c4-eec3b9c972ba" providerId="ADAL" clId="{20732594-E247-4235-B6E6-9A258289F144}" dt="2020-05-16T13:40:49.840" v="1358" actId="255"/>
            <ac:spMkLst>
              <pc:docMk/>
              <pc:sldMasterMk cId="247768031" sldId="2147483648"/>
              <pc:sldLayoutMk cId="2932092287" sldId="2147483654"/>
              <ac:spMk id="2" creationId="{CE341899-E99D-4571-98BD-4CB63A530A0F}"/>
            </ac:spMkLst>
          </pc:spChg>
        </pc:sldLayoutChg>
      </pc:sldMasterChg>
    </pc:docChg>
  </pc:docChgLst>
  <pc:docChgLst>
    <pc:chgData name="Thomas Stensitzki" userId="75cafe6b-2f2a-469b-85c4-eec3b9c972ba" providerId="ADAL" clId="{87C52934-9D1F-4A55-8B74-95F1C1650845}"/>
    <pc:docChg chg="undo custSel addSld delSld modSld sldOrd addSection modSection">
      <pc:chgData name="Thomas Stensitzki" userId="75cafe6b-2f2a-469b-85c4-eec3b9c972ba" providerId="ADAL" clId="{87C52934-9D1F-4A55-8B74-95F1C1650845}" dt="2023-05-11T14:51:07.551" v="1022" actId="20577"/>
      <pc:docMkLst>
        <pc:docMk/>
      </pc:docMkLst>
      <pc:sldChg chg="addSp delSp modSp mod">
        <pc:chgData name="Thomas Stensitzki" userId="75cafe6b-2f2a-469b-85c4-eec3b9c972ba" providerId="ADAL" clId="{87C52934-9D1F-4A55-8B74-95F1C1650845}" dt="2023-05-11T07:35:30.395" v="547" actId="1076"/>
        <pc:sldMkLst>
          <pc:docMk/>
          <pc:sldMk cId="1331178014" sldId="256"/>
        </pc:sldMkLst>
        <pc:spChg chg="mod">
          <ac:chgData name="Thomas Stensitzki" userId="75cafe6b-2f2a-469b-85c4-eec3b9c972ba" providerId="ADAL" clId="{87C52934-9D1F-4A55-8B74-95F1C1650845}" dt="2023-05-05T12:41:00.656" v="33" actId="20577"/>
          <ac:spMkLst>
            <pc:docMk/>
            <pc:sldMk cId="1331178014" sldId="256"/>
            <ac:spMk id="3" creationId="{FD1EE5AE-531F-46B2-BC77-BEC77D90CE70}"/>
          </ac:spMkLst>
        </pc:spChg>
        <pc:picChg chg="add del mod">
          <ac:chgData name="Thomas Stensitzki" userId="75cafe6b-2f2a-469b-85c4-eec3b9c972ba" providerId="ADAL" clId="{87C52934-9D1F-4A55-8B74-95F1C1650845}" dt="2023-05-11T07:33:51.831" v="481" actId="478"/>
          <ac:picMkLst>
            <pc:docMk/>
            <pc:sldMk cId="1331178014" sldId="256"/>
            <ac:picMk id="4" creationId="{1D36439A-1C5E-E973-49CF-7249FB8AACEC}"/>
          </ac:picMkLst>
        </pc:picChg>
        <pc:picChg chg="add mod">
          <ac:chgData name="Thomas Stensitzki" userId="75cafe6b-2f2a-469b-85c4-eec3b9c972ba" providerId="ADAL" clId="{87C52934-9D1F-4A55-8B74-95F1C1650845}" dt="2023-05-11T07:35:30.395" v="547" actId="1076"/>
          <ac:picMkLst>
            <pc:docMk/>
            <pc:sldMk cId="1331178014" sldId="256"/>
            <ac:picMk id="6" creationId="{E9406939-7FCC-1F66-710D-1A39ED676152}"/>
          </ac:picMkLst>
        </pc:picChg>
      </pc:sldChg>
      <pc:sldChg chg="modSp mod">
        <pc:chgData name="Thomas Stensitzki" userId="75cafe6b-2f2a-469b-85c4-eec3b9c972ba" providerId="ADAL" clId="{87C52934-9D1F-4A55-8B74-95F1C1650845}" dt="2023-05-11T14:46:59.469" v="918" actId="207"/>
        <pc:sldMkLst>
          <pc:docMk/>
          <pc:sldMk cId="1611388703" sldId="292"/>
        </pc:sldMkLst>
        <pc:spChg chg="mod">
          <ac:chgData name="Thomas Stensitzki" userId="75cafe6b-2f2a-469b-85c4-eec3b9c972ba" providerId="ADAL" clId="{87C52934-9D1F-4A55-8B74-95F1C1650845}" dt="2023-05-11T14:46:59.469" v="918" actId="207"/>
          <ac:spMkLst>
            <pc:docMk/>
            <pc:sldMk cId="1611388703" sldId="292"/>
            <ac:spMk id="7" creationId="{E9FA3C4E-F0C9-6C1E-665A-C26710D313DA}"/>
          </ac:spMkLst>
        </pc:spChg>
        <pc:spChg chg="mod">
          <ac:chgData name="Thomas Stensitzki" userId="75cafe6b-2f2a-469b-85c4-eec3b9c972ba" providerId="ADAL" clId="{87C52934-9D1F-4A55-8B74-95F1C1650845}" dt="2023-05-11T14:46:38.448" v="917" actId="20577"/>
          <ac:spMkLst>
            <pc:docMk/>
            <pc:sldMk cId="1611388703" sldId="292"/>
            <ac:spMk id="10" creationId="{3736F066-EE83-F935-B65C-D3AD97F0980B}"/>
          </ac:spMkLst>
        </pc:spChg>
        <pc:spChg chg="mod">
          <ac:chgData name="Thomas Stensitzki" userId="75cafe6b-2f2a-469b-85c4-eec3b9c972ba" providerId="ADAL" clId="{87C52934-9D1F-4A55-8B74-95F1C1650845}" dt="2023-05-11T14:46:16.088" v="898" actId="13926"/>
          <ac:spMkLst>
            <pc:docMk/>
            <pc:sldMk cId="1611388703" sldId="292"/>
            <ac:spMk id="11" creationId="{9E9492AF-CCA6-852F-29D1-4167AD0677D1}"/>
          </ac:spMkLst>
        </pc:spChg>
        <pc:spChg chg="mod">
          <ac:chgData name="Thomas Stensitzki" userId="75cafe6b-2f2a-469b-85c4-eec3b9c972ba" providerId="ADAL" clId="{87C52934-9D1F-4A55-8B74-95F1C1650845}" dt="2023-05-11T14:46:29.626" v="915" actId="6549"/>
          <ac:spMkLst>
            <pc:docMk/>
            <pc:sldMk cId="1611388703" sldId="292"/>
            <ac:spMk id="12" creationId="{A6CE1CF2-2506-49B4-473E-144BD4FDF4EC}"/>
          </ac:spMkLst>
        </pc:spChg>
      </pc:sldChg>
      <pc:sldChg chg="mod modShow">
        <pc:chgData name="Thomas Stensitzki" userId="75cafe6b-2f2a-469b-85c4-eec3b9c972ba" providerId="ADAL" clId="{87C52934-9D1F-4A55-8B74-95F1C1650845}" dt="2023-05-11T08:15:42.462" v="896" actId="729"/>
        <pc:sldMkLst>
          <pc:docMk/>
          <pc:sldMk cId="1427182002" sldId="304"/>
        </pc:sldMkLst>
      </pc:sldChg>
      <pc:sldChg chg="modSp mod modAnim modShow">
        <pc:chgData name="Thomas Stensitzki" userId="75cafe6b-2f2a-469b-85c4-eec3b9c972ba" providerId="ADAL" clId="{87C52934-9D1F-4A55-8B74-95F1C1650845}" dt="2023-05-11T14:49:10.694" v="999" actId="20577"/>
        <pc:sldMkLst>
          <pc:docMk/>
          <pc:sldMk cId="1093494060" sldId="305"/>
        </pc:sldMkLst>
        <pc:spChg chg="mod">
          <ac:chgData name="Thomas Stensitzki" userId="75cafe6b-2f2a-469b-85c4-eec3b9c972ba" providerId="ADAL" clId="{87C52934-9D1F-4A55-8B74-95F1C1650845}" dt="2023-05-11T14:49:10.694" v="999" actId="20577"/>
          <ac:spMkLst>
            <pc:docMk/>
            <pc:sldMk cId="1093494060" sldId="305"/>
            <ac:spMk id="5" creationId="{99AC2BC8-81AF-E5B6-BACA-B05F5DC84EED}"/>
          </ac:spMkLst>
        </pc:spChg>
      </pc:sldChg>
      <pc:sldChg chg="mod modShow">
        <pc:chgData name="Thomas Stensitzki" userId="75cafe6b-2f2a-469b-85c4-eec3b9c972ba" providerId="ADAL" clId="{87C52934-9D1F-4A55-8B74-95F1C1650845}" dt="2023-05-11T08:15:54.068" v="897" actId="729"/>
        <pc:sldMkLst>
          <pc:docMk/>
          <pc:sldMk cId="812674857" sldId="306"/>
        </pc:sldMkLst>
      </pc:sldChg>
      <pc:sldChg chg="mod modShow">
        <pc:chgData name="Thomas Stensitzki" userId="75cafe6b-2f2a-469b-85c4-eec3b9c972ba" providerId="ADAL" clId="{87C52934-9D1F-4A55-8B74-95F1C1650845}" dt="2023-05-11T08:15:54.068" v="897" actId="729"/>
        <pc:sldMkLst>
          <pc:docMk/>
          <pc:sldMk cId="3940489596" sldId="307"/>
        </pc:sldMkLst>
      </pc:sldChg>
      <pc:sldChg chg="mod modShow">
        <pc:chgData name="Thomas Stensitzki" userId="75cafe6b-2f2a-469b-85c4-eec3b9c972ba" providerId="ADAL" clId="{87C52934-9D1F-4A55-8B74-95F1C1650845}" dt="2023-05-11T08:15:42.462" v="896" actId="729"/>
        <pc:sldMkLst>
          <pc:docMk/>
          <pc:sldMk cId="3983061710" sldId="308"/>
        </pc:sldMkLst>
      </pc:sldChg>
      <pc:sldChg chg="mod modShow">
        <pc:chgData name="Thomas Stensitzki" userId="75cafe6b-2f2a-469b-85c4-eec3b9c972ba" providerId="ADAL" clId="{87C52934-9D1F-4A55-8B74-95F1C1650845}" dt="2023-05-11T08:15:54.068" v="897" actId="729"/>
        <pc:sldMkLst>
          <pc:docMk/>
          <pc:sldMk cId="2472229152" sldId="309"/>
        </pc:sldMkLst>
      </pc:sldChg>
      <pc:sldChg chg="mod modShow">
        <pc:chgData name="Thomas Stensitzki" userId="75cafe6b-2f2a-469b-85c4-eec3b9c972ba" providerId="ADAL" clId="{87C52934-9D1F-4A55-8B74-95F1C1650845}" dt="2023-05-11T08:15:54.068" v="897" actId="729"/>
        <pc:sldMkLst>
          <pc:docMk/>
          <pc:sldMk cId="4080117629" sldId="310"/>
        </pc:sldMkLst>
      </pc:sldChg>
      <pc:sldChg chg="mod modShow">
        <pc:chgData name="Thomas Stensitzki" userId="75cafe6b-2f2a-469b-85c4-eec3b9c972ba" providerId="ADAL" clId="{87C52934-9D1F-4A55-8B74-95F1C1650845}" dt="2023-05-11T08:15:42.462" v="896" actId="729"/>
        <pc:sldMkLst>
          <pc:docMk/>
          <pc:sldMk cId="2203320725" sldId="311"/>
        </pc:sldMkLst>
      </pc:sldChg>
      <pc:sldChg chg="mod modShow">
        <pc:chgData name="Thomas Stensitzki" userId="75cafe6b-2f2a-469b-85c4-eec3b9c972ba" providerId="ADAL" clId="{87C52934-9D1F-4A55-8B74-95F1C1650845}" dt="2023-05-11T08:15:42.462" v="896" actId="729"/>
        <pc:sldMkLst>
          <pc:docMk/>
          <pc:sldMk cId="3625000776" sldId="312"/>
        </pc:sldMkLst>
      </pc:sldChg>
      <pc:sldChg chg="modSp">
        <pc:chgData name="Thomas Stensitzki" userId="75cafe6b-2f2a-469b-85c4-eec3b9c972ba" providerId="ADAL" clId="{87C52934-9D1F-4A55-8B74-95F1C1650845}" dt="2023-05-05T13:02:47.815" v="444"/>
        <pc:sldMkLst>
          <pc:docMk/>
          <pc:sldMk cId="3031883727" sldId="319"/>
        </pc:sldMkLst>
        <pc:spChg chg="mod">
          <ac:chgData name="Thomas Stensitzki" userId="75cafe6b-2f2a-469b-85c4-eec3b9c972ba" providerId="ADAL" clId="{87C52934-9D1F-4A55-8B74-95F1C1650845}" dt="2023-05-05T13:02:47.815" v="444"/>
          <ac:spMkLst>
            <pc:docMk/>
            <pc:sldMk cId="3031883727" sldId="319"/>
            <ac:spMk id="3" creationId="{5EB14DE9-5D03-3D85-D28E-30A9701D5BFC}"/>
          </ac:spMkLst>
        </pc:spChg>
      </pc:sldChg>
      <pc:sldChg chg="mod modShow">
        <pc:chgData name="Thomas Stensitzki" userId="75cafe6b-2f2a-469b-85c4-eec3b9c972ba" providerId="ADAL" clId="{87C52934-9D1F-4A55-8B74-95F1C1650845}" dt="2023-05-11T07:37:39.900" v="552" actId="729"/>
        <pc:sldMkLst>
          <pc:docMk/>
          <pc:sldMk cId="2321758477" sldId="324"/>
        </pc:sldMkLst>
      </pc:sldChg>
      <pc:sldChg chg="mod modShow">
        <pc:chgData name="Thomas Stensitzki" userId="75cafe6b-2f2a-469b-85c4-eec3b9c972ba" providerId="ADAL" clId="{87C52934-9D1F-4A55-8B74-95F1C1650845}" dt="2023-05-11T07:37:39.900" v="552" actId="729"/>
        <pc:sldMkLst>
          <pc:docMk/>
          <pc:sldMk cId="810960131" sldId="325"/>
        </pc:sldMkLst>
      </pc:sldChg>
      <pc:sldChg chg="mod modShow">
        <pc:chgData name="Thomas Stensitzki" userId="75cafe6b-2f2a-469b-85c4-eec3b9c972ba" providerId="ADAL" clId="{87C52934-9D1F-4A55-8B74-95F1C1650845}" dt="2023-05-11T07:37:39.900" v="552" actId="729"/>
        <pc:sldMkLst>
          <pc:docMk/>
          <pc:sldMk cId="2250562298" sldId="326"/>
        </pc:sldMkLst>
      </pc:sldChg>
      <pc:sldChg chg="mod modShow">
        <pc:chgData name="Thomas Stensitzki" userId="75cafe6b-2f2a-469b-85c4-eec3b9c972ba" providerId="ADAL" clId="{87C52934-9D1F-4A55-8B74-95F1C1650845}" dt="2023-05-11T07:37:39.900" v="552" actId="729"/>
        <pc:sldMkLst>
          <pc:docMk/>
          <pc:sldMk cId="1842017290" sldId="327"/>
        </pc:sldMkLst>
      </pc:sldChg>
      <pc:sldChg chg="addSp delSp modSp mod">
        <pc:chgData name="Thomas Stensitzki" userId="75cafe6b-2f2a-469b-85c4-eec3b9c972ba" providerId="ADAL" clId="{87C52934-9D1F-4A55-8B74-95F1C1650845}" dt="2023-05-11T07:35:48.062" v="550" actId="478"/>
        <pc:sldMkLst>
          <pc:docMk/>
          <pc:sldMk cId="1532379658" sldId="335"/>
        </pc:sldMkLst>
        <pc:spChg chg="del">
          <ac:chgData name="Thomas Stensitzki" userId="75cafe6b-2f2a-469b-85c4-eec3b9c972ba" providerId="ADAL" clId="{87C52934-9D1F-4A55-8B74-95F1C1650845}" dt="2023-05-11T07:35:48.062" v="550" actId="478"/>
          <ac:spMkLst>
            <pc:docMk/>
            <pc:sldMk cId="1532379658" sldId="335"/>
            <ac:spMk id="3" creationId="{929F043B-C787-47A9-8373-4D8587EE4FEA}"/>
          </ac:spMkLst>
        </pc:spChg>
        <pc:picChg chg="add mod">
          <ac:chgData name="Thomas Stensitzki" userId="75cafe6b-2f2a-469b-85c4-eec3b9c972ba" providerId="ADAL" clId="{87C52934-9D1F-4A55-8B74-95F1C1650845}" dt="2023-05-11T07:35:43.632" v="549" actId="1076"/>
          <ac:picMkLst>
            <pc:docMk/>
            <pc:sldMk cId="1532379658" sldId="335"/>
            <ac:picMk id="6" creationId="{6AF41EB0-23F4-7853-8074-92EC4717B12E}"/>
          </ac:picMkLst>
        </pc:picChg>
      </pc:sldChg>
      <pc:sldChg chg="addSp modSp new mod">
        <pc:chgData name="Thomas Stensitzki" userId="75cafe6b-2f2a-469b-85c4-eec3b9c972ba" providerId="ADAL" clId="{87C52934-9D1F-4A55-8B74-95F1C1650845}" dt="2023-05-11T14:48:05.703" v="921" actId="1582"/>
        <pc:sldMkLst>
          <pc:docMk/>
          <pc:sldMk cId="2271657714" sldId="336"/>
        </pc:sldMkLst>
        <pc:spChg chg="mod">
          <ac:chgData name="Thomas Stensitzki" userId="75cafe6b-2f2a-469b-85c4-eec3b9c972ba" providerId="ADAL" clId="{87C52934-9D1F-4A55-8B74-95F1C1650845}" dt="2023-05-05T12:46:54.987" v="104" actId="6549"/>
          <ac:spMkLst>
            <pc:docMk/>
            <pc:sldMk cId="2271657714" sldId="336"/>
            <ac:spMk id="2" creationId="{5D1202CC-D39C-B601-4D35-12D072E0601E}"/>
          </ac:spMkLst>
        </pc:spChg>
        <pc:spChg chg="add mod">
          <ac:chgData name="Thomas Stensitzki" userId="75cafe6b-2f2a-469b-85c4-eec3b9c972ba" providerId="ADAL" clId="{87C52934-9D1F-4A55-8B74-95F1C1650845}" dt="2023-05-11T14:48:05.703" v="921" actId="1582"/>
          <ac:spMkLst>
            <pc:docMk/>
            <pc:sldMk cId="2271657714" sldId="336"/>
            <ac:spMk id="3" creationId="{2F21BB53-FF83-0FEA-4490-6FF753B813B6}"/>
          </ac:spMkLst>
        </pc:spChg>
        <pc:spChg chg="add mod">
          <ac:chgData name="Thomas Stensitzki" userId="75cafe6b-2f2a-469b-85c4-eec3b9c972ba" providerId="ADAL" clId="{87C52934-9D1F-4A55-8B74-95F1C1650845}" dt="2023-05-05T12:46:37.418" v="98" actId="20577"/>
          <ac:spMkLst>
            <pc:docMk/>
            <pc:sldMk cId="2271657714" sldId="336"/>
            <ac:spMk id="5" creationId="{CEE1B3F2-A298-25C5-F5AD-481DE99B24EB}"/>
          </ac:spMkLst>
        </pc:spChg>
        <pc:picChg chg="add mod">
          <ac:chgData name="Thomas Stensitzki" userId="75cafe6b-2f2a-469b-85c4-eec3b9c972ba" providerId="ADAL" clId="{87C52934-9D1F-4A55-8B74-95F1C1650845}" dt="2023-05-05T12:45:27.615" v="38" actId="1440"/>
          <ac:picMkLst>
            <pc:docMk/>
            <pc:sldMk cId="2271657714" sldId="336"/>
            <ac:picMk id="4" creationId="{DE7432F5-92E5-102A-D0BC-31E5FAFD98D1}"/>
          </ac:picMkLst>
        </pc:picChg>
      </pc:sldChg>
      <pc:sldChg chg="modSp new mod">
        <pc:chgData name="Thomas Stensitzki" userId="75cafe6b-2f2a-469b-85c4-eec3b9c972ba" providerId="ADAL" clId="{87C52934-9D1F-4A55-8B74-95F1C1650845}" dt="2023-05-05T12:51:29.186" v="216" actId="20577"/>
        <pc:sldMkLst>
          <pc:docMk/>
          <pc:sldMk cId="3560262387" sldId="337"/>
        </pc:sldMkLst>
        <pc:spChg chg="mod">
          <ac:chgData name="Thomas Stensitzki" userId="75cafe6b-2f2a-469b-85c4-eec3b9c972ba" providerId="ADAL" clId="{87C52934-9D1F-4A55-8B74-95F1C1650845}" dt="2023-05-05T12:50:31.579" v="129"/>
          <ac:spMkLst>
            <pc:docMk/>
            <pc:sldMk cId="3560262387" sldId="337"/>
            <ac:spMk id="2" creationId="{600D2480-4B55-912B-0F41-8B6BC79861BC}"/>
          </ac:spMkLst>
        </pc:spChg>
        <pc:spChg chg="mod">
          <ac:chgData name="Thomas Stensitzki" userId="75cafe6b-2f2a-469b-85c4-eec3b9c972ba" providerId="ADAL" clId="{87C52934-9D1F-4A55-8B74-95F1C1650845}" dt="2023-05-05T12:51:29.186" v="216" actId="20577"/>
          <ac:spMkLst>
            <pc:docMk/>
            <pc:sldMk cId="3560262387" sldId="337"/>
            <ac:spMk id="3" creationId="{E495C25F-182D-30F9-7961-B78719B88579}"/>
          </ac:spMkLst>
        </pc:spChg>
      </pc:sldChg>
      <pc:sldChg chg="modSp add mod ord">
        <pc:chgData name="Thomas Stensitzki" userId="75cafe6b-2f2a-469b-85c4-eec3b9c972ba" providerId="ADAL" clId="{87C52934-9D1F-4A55-8B74-95F1C1650845}" dt="2023-05-05T12:49:30.984" v="128" actId="20577"/>
        <pc:sldMkLst>
          <pc:docMk/>
          <pc:sldMk cId="1344546421" sldId="338"/>
        </pc:sldMkLst>
        <pc:spChg chg="mod">
          <ac:chgData name="Thomas Stensitzki" userId="75cafe6b-2f2a-469b-85c4-eec3b9c972ba" providerId="ADAL" clId="{87C52934-9D1F-4A55-8B74-95F1C1650845}" dt="2023-05-05T12:49:30.984" v="128" actId="20577"/>
          <ac:spMkLst>
            <pc:docMk/>
            <pc:sldMk cId="1344546421" sldId="338"/>
            <ac:spMk id="4" creationId="{70E8EAA7-76C4-4D2B-81CE-57CA4627D39E}"/>
          </ac:spMkLst>
        </pc:spChg>
      </pc:sldChg>
      <pc:sldChg chg="modSp new mod">
        <pc:chgData name="Thomas Stensitzki" userId="75cafe6b-2f2a-469b-85c4-eec3b9c972ba" providerId="ADAL" clId="{87C52934-9D1F-4A55-8B74-95F1C1650845}" dt="2023-05-05T12:52:32.171" v="238" actId="6549"/>
        <pc:sldMkLst>
          <pc:docMk/>
          <pc:sldMk cId="1779683411" sldId="339"/>
        </pc:sldMkLst>
        <pc:spChg chg="mod">
          <ac:chgData name="Thomas Stensitzki" userId="75cafe6b-2f2a-469b-85c4-eec3b9c972ba" providerId="ADAL" clId="{87C52934-9D1F-4A55-8B74-95F1C1650845}" dt="2023-05-05T12:51:49.156" v="218"/>
          <ac:spMkLst>
            <pc:docMk/>
            <pc:sldMk cId="1779683411" sldId="339"/>
            <ac:spMk id="2" creationId="{BDFFEA92-93E6-716B-DFE6-138962912821}"/>
          </ac:spMkLst>
        </pc:spChg>
        <pc:spChg chg="mod">
          <ac:chgData name="Thomas Stensitzki" userId="75cafe6b-2f2a-469b-85c4-eec3b9c972ba" providerId="ADAL" clId="{87C52934-9D1F-4A55-8B74-95F1C1650845}" dt="2023-05-05T12:52:32.171" v="238" actId="6549"/>
          <ac:spMkLst>
            <pc:docMk/>
            <pc:sldMk cId="1779683411" sldId="339"/>
            <ac:spMk id="3" creationId="{CD71097D-A9AC-644E-9C9B-17158F9A88A1}"/>
          </ac:spMkLst>
        </pc:spChg>
      </pc:sldChg>
      <pc:sldChg chg="addSp delSp modSp new mod modAnim">
        <pc:chgData name="Thomas Stensitzki" userId="75cafe6b-2f2a-469b-85c4-eec3b9c972ba" providerId="ADAL" clId="{87C52934-9D1F-4A55-8B74-95F1C1650845}" dt="2023-05-11T14:50:39.383" v="1011" actId="403"/>
        <pc:sldMkLst>
          <pc:docMk/>
          <pc:sldMk cId="3510144726" sldId="340"/>
        </pc:sldMkLst>
        <pc:spChg chg="mod">
          <ac:chgData name="Thomas Stensitzki" userId="75cafe6b-2f2a-469b-85c4-eec3b9c972ba" providerId="ADAL" clId="{87C52934-9D1F-4A55-8B74-95F1C1650845}" dt="2023-05-05T12:55:25.613" v="240"/>
          <ac:spMkLst>
            <pc:docMk/>
            <pc:sldMk cId="3510144726" sldId="340"/>
            <ac:spMk id="2" creationId="{8F020022-7A92-E325-C882-ACB50D81FE87}"/>
          </ac:spMkLst>
        </pc:spChg>
        <pc:spChg chg="del">
          <ac:chgData name="Thomas Stensitzki" userId="75cafe6b-2f2a-469b-85c4-eec3b9c972ba" providerId="ADAL" clId="{87C52934-9D1F-4A55-8B74-95F1C1650845}" dt="2023-05-05T12:55:45.398" v="241" actId="478"/>
          <ac:spMkLst>
            <pc:docMk/>
            <pc:sldMk cId="3510144726" sldId="340"/>
            <ac:spMk id="3" creationId="{E7309FE8-ADEB-5D06-78C5-1599227E09AB}"/>
          </ac:spMkLst>
        </pc:spChg>
        <pc:spChg chg="add mod">
          <ac:chgData name="Thomas Stensitzki" userId="75cafe6b-2f2a-469b-85c4-eec3b9c972ba" providerId="ADAL" clId="{87C52934-9D1F-4A55-8B74-95F1C1650845}" dt="2023-05-05T12:59:58.940" v="409" actId="1076"/>
          <ac:spMkLst>
            <pc:docMk/>
            <pc:sldMk cId="3510144726" sldId="340"/>
            <ac:spMk id="4" creationId="{AF669EB2-7CB8-9F8F-C5A1-8AD89861164E}"/>
          </ac:spMkLst>
        </pc:spChg>
        <pc:spChg chg="add mod">
          <ac:chgData name="Thomas Stensitzki" userId="75cafe6b-2f2a-469b-85c4-eec3b9c972ba" providerId="ADAL" clId="{87C52934-9D1F-4A55-8B74-95F1C1650845}" dt="2023-05-05T13:00:07.786" v="410" actId="1076"/>
          <ac:spMkLst>
            <pc:docMk/>
            <pc:sldMk cId="3510144726" sldId="340"/>
            <ac:spMk id="5" creationId="{2B882970-EB94-0B94-C716-59E0B5F946F8}"/>
          </ac:spMkLst>
        </pc:spChg>
        <pc:spChg chg="add mod">
          <ac:chgData name="Thomas Stensitzki" userId="75cafe6b-2f2a-469b-85c4-eec3b9c972ba" providerId="ADAL" clId="{87C52934-9D1F-4A55-8B74-95F1C1650845}" dt="2023-05-05T13:00:20.235" v="426" actId="20577"/>
          <ac:spMkLst>
            <pc:docMk/>
            <pc:sldMk cId="3510144726" sldId="340"/>
            <ac:spMk id="11" creationId="{6528651F-47B4-5EA0-0248-5B214831A4F8}"/>
          </ac:spMkLst>
        </pc:spChg>
        <pc:spChg chg="add mod">
          <ac:chgData name="Thomas Stensitzki" userId="75cafe6b-2f2a-469b-85c4-eec3b9c972ba" providerId="ADAL" clId="{87C52934-9D1F-4A55-8B74-95F1C1650845}" dt="2023-05-05T12:59:58.940" v="409" actId="1076"/>
          <ac:spMkLst>
            <pc:docMk/>
            <pc:sldMk cId="3510144726" sldId="340"/>
            <ac:spMk id="15" creationId="{F735552A-5783-24C0-DD6A-FFA22264EFE0}"/>
          </ac:spMkLst>
        </pc:spChg>
        <pc:spChg chg="add mod">
          <ac:chgData name="Thomas Stensitzki" userId="75cafe6b-2f2a-469b-85c4-eec3b9c972ba" providerId="ADAL" clId="{87C52934-9D1F-4A55-8B74-95F1C1650845}" dt="2023-05-05T12:59:58.940" v="409" actId="1076"/>
          <ac:spMkLst>
            <pc:docMk/>
            <pc:sldMk cId="3510144726" sldId="340"/>
            <ac:spMk id="21" creationId="{7819FFD7-249C-57FB-5282-FF8A8FE1D233}"/>
          </ac:spMkLst>
        </pc:spChg>
        <pc:spChg chg="add mod">
          <ac:chgData name="Thomas Stensitzki" userId="75cafe6b-2f2a-469b-85c4-eec3b9c972ba" providerId="ADAL" clId="{87C52934-9D1F-4A55-8B74-95F1C1650845}" dt="2023-05-11T14:50:12.446" v="1010" actId="20577"/>
          <ac:spMkLst>
            <pc:docMk/>
            <pc:sldMk cId="3510144726" sldId="340"/>
            <ac:spMk id="22" creationId="{DDDD667E-BAEB-BB97-0985-588622C2EBDF}"/>
          </ac:spMkLst>
        </pc:spChg>
        <pc:spChg chg="add mod">
          <ac:chgData name="Thomas Stensitzki" userId="75cafe6b-2f2a-469b-85c4-eec3b9c972ba" providerId="ADAL" clId="{87C52934-9D1F-4A55-8B74-95F1C1650845}" dt="2023-05-05T13:00:07.786" v="410" actId="1076"/>
          <ac:spMkLst>
            <pc:docMk/>
            <pc:sldMk cId="3510144726" sldId="340"/>
            <ac:spMk id="23" creationId="{570BDF13-4FB5-C139-6FD6-17952D5A8534}"/>
          </ac:spMkLst>
        </pc:spChg>
        <pc:spChg chg="add mod">
          <ac:chgData name="Thomas Stensitzki" userId="75cafe6b-2f2a-469b-85c4-eec3b9c972ba" providerId="ADAL" clId="{87C52934-9D1F-4A55-8B74-95F1C1650845}" dt="2023-05-05T12:59:58.940" v="409" actId="1076"/>
          <ac:spMkLst>
            <pc:docMk/>
            <pc:sldMk cId="3510144726" sldId="340"/>
            <ac:spMk id="29" creationId="{CB9ED1A0-ABBF-3EC9-5E53-7B860171BB81}"/>
          </ac:spMkLst>
        </pc:spChg>
        <pc:spChg chg="add mod">
          <ac:chgData name="Thomas Stensitzki" userId="75cafe6b-2f2a-469b-85c4-eec3b9c972ba" providerId="ADAL" clId="{87C52934-9D1F-4A55-8B74-95F1C1650845}" dt="2023-05-11T14:50:39.383" v="1011" actId="403"/>
          <ac:spMkLst>
            <pc:docMk/>
            <pc:sldMk cId="3510144726" sldId="340"/>
            <ac:spMk id="30" creationId="{AC956EF8-CDFC-F308-60B6-D56F9F3B8DE3}"/>
          </ac:spMkLst>
        </pc:spChg>
        <pc:spChg chg="add mod">
          <ac:chgData name="Thomas Stensitzki" userId="75cafe6b-2f2a-469b-85c4-eec3b9c972ba" providerId="ADAL" clId="{87C52934-9D1F-4A55-8B74-95F1C1650845}" dt="2023-05-05T13:00:07.786" v="410" actId="1076"/>
          <ac:spMkLst>
            <pc:docMk/>
            <pc:sldMk cId="3510144726" sldId="340"/>
            <ac:spMk id="31" creationId="{9AE8F999-73EB-5235-B82C-EB21B38FA2E6}"/>
          </ac:spMkLst>
        </pc:spChg>
        <pc:spChg chg="add mod">
          <ac:chgData name="Thomas Stensitzki" userId="75cafe6b-2f2a-469b-85c4-eec3b9c972ba" providerId="ADAL" clId="{87C52934-9D1F-4A55-8B74-95F1C1650845}" dt="2023-05-05T12:59:58.940" v="409" actId="1076"/>
          <ac:spMkLst>
            <pc:docMk/>
            <pc:sldMk cId="3510144726" sldId="340"/>
            <ac:spMk id="33" creationId="{5A3969D1-9171-A762-4C32-0646150B9185}"/>
          </ac:spMkLst>
        </pc:spChg>
        <pc:spChg chg="add mod">
          <ac:chgData name="Thomas Stensitzki" userId="75cafe6b-2f2a-469b-85c4-eec3b9c972ba" providerId="ADAL" clId="{87C52934-9D1F-4A55-8B74-95F1C1650845}" dt="2023-05-05T13:00:07.786" v="410" actId="1076"/>
          <ac:spMkLst>
            <pc:docMk/>
            <pc:sldMk cId="3510144726" sldId="340"/>
            <ac:spMk id="34" creationId="{5B679AA2-A1D0-1C61-E677-9A07FE9A3B4E}"/>
          </ac:spMkLst>
        </pc:spChg>
        <pc:spChg chg="add mod">
          <ac:chgData name="Thomas Stensitzki" userId="75cafe6b-2f2a-469b-85c4-eec3b9c972ba" providerId="ADAL" clId="{87C52934-9D1F-4A55-8B74-95F1C1650845}" dt="2023-05-05T13:02:00.379" v="440" actId="20577"/>
          <ac:spMkLst>
            <pc:docMk/>
            <pc:sldMk cId="3510144726" sldId="340"/>
            <ac:spMk id="35" creationId="{869387CE-E576-A2D0-99FE-FAB3AAD68B45}"/>
          </ac:spMkLst>
        </pc:spChg>
        <pc:spChg chg="add mod">
          <ac:chgData name="Thomas Stensitzki" userId="75cafe6b-2f2a-469b-85c4-eec3b9c972ba" providerId="ADAL" clId="{87C52934-9D1F-4A55-8B74-95F1C1650845}" dt="2023-05-05T13:02:09.979" v="442" actId="1076"/>
          <ac:spMkLst>
            <pc:docMk/>
            <pc:sldMk cId="3510144726" sldId="340"/>
            <ac:spMk id="36" creationId="{E90C8DEE-BD2B-7517-05DA-CDC4809295E3}"/>
          </ac:spMkLst>
        </pc:spChg>
        <pc:picChg chg="add mod">
          <ac:chgData name="Thomas Stensitzki" userId="75cafe6b-2f2a-469b-85c4-eec3b9c972ba" providerId="ADAL" clId="{87C52934-9D1F-4A55-8B74-95F1C1650845}" dt="2023-05-05T13:00:07.786" v="410" actId="1076"/>
          <ac:picMkLst>
            <pc:docMk/>
            <pc:sldMk cId="3510144726" sldId="340"/>
            <ac:picMk id="6" creationId="{9B3B7F78-F20F-9199-5C15-3F8DC6EF227E}"/>
          </ac:picMkLst>
        </pc:picChg>
        <pc:picChg chg="add mod">
          <ac:chgData name="Thomas Stensitzki" userId="75cafe6b-2f2a-469b-85c4-eec3b9c972ba" providerId="ADAL" clId="{87C52934-9D1F-4A55-8B74-95F1C1650845}" dt="2023-05-05T12:59:58.940" v="409" actId="1076"/>
          <ac:picMkLst>
            <pc:docMk/>
            <pc:sldMk cId="3510144726" sldId="340"/>
            <ac:picMk id="7" creationId="{BCA30414-9742-51CA-A5F9-2308E9DD2EC7}"/>
          </ac:picMkLst>
        </pc:picChg>
        <pc:picChg chg="add mod">
          <ac:chgData name="Thomas Stensitzki" userId="75cafe6b-2f2a-469b-85c4-eec3b9c972ba" providerId="ADAL" clId="{87C52934-9D1F-4A55-8B74-95F1C1650845}" dt="2023-05-05T12:59:58.940" v="409" actId="1076"/>
          <ac:picMkLst>
            <pc:docMk/>
            <pc:sldMk cId="3510144726" sldId="340"/>
            <ac:picMk id="8" creationId="{4DE3C093-236D-5AC2-EB16-F02FC925FCE7}"/>
          </ac:picMkLst>
        </pc:picChg>
        <pc:picChg chg="add mod">
          <ac:chgData name="Thomas Stensitzki" userId="75cafe6b-2f2a-469b-85c4-eec3b9c972ba" providerId="ADAL" clId="{87C52934-9D1F-4A55-8B74-95F1C1650845}" dt="2023-05-05T13:00:07.786" v="410" actId="1076"/>
          <ac:picMkLst>
            <pc:docMk/>
            <pc:sldMk cId="3510144726" sldId="340"/>
            <ac:picMk id="9" creationId="{A6DAE54D-DF67-9F29-9BCA-6F6BB25ECF7A}"/>
          </ac:picMkLst>
        </pc:picChg>
        <pc:picChg chg="add mod">
          <ac:chgData name="Thomas Stensitzki" userId="75cafe6b-2f2a-469b-85c4-eec3b9c972ba" providerId="ADAL" clId="{87C52934-9D1F-4A55-8B74-95F1C1650845}" dt="2023-05-05T12:59:58.940" v="409" actId="1076"/>
          <ac:picMkLst>
            <pc:docMk/>
            <pc:sldMk cId="3510144726" sldId="340"/>
            <ac:picMk id="10" creationId="{3140A59C-9CAD-2E55-E5C8-D023959941C2}"/>
          </ac:picMkLst>
        </pc:picChg>
        <pc:picChg chg="add mod">
          <ac:chgData name="Thomas Stensitzki" userId="75cafe6b-2f2a-469b-85c4-eec3b9c972ba" providerId="ADAL" clId="{87C52934-9D1F-4A55-8B74-95F1C1650845}" dt="2023-05-05T12:59:58.940" v="409" actId="1076"/>
          <ac:picMkLst>
            <pc:docMk/>
            <pc:sldMk cId="3510144726" sldId="340"/>
            <ac:picMk id="13" creationId="{697598DB-169E-6B82-4E89-B1F8E31FF50D}"/>
          </ac:picMkLst>
        </pc:picChg>
        <pc:picChg chg="add mod">
          <ac:chgData name="Thomas Stensitzki" userId="75cafe6b-2f2a-469b-85c4-eec3b9c972ba" providerId="ADAL" clId="{87C52934-9D1F-4A55-8B74-95F1C1650845}" dt="2023-05-05T12:59:58.940" v="409" actId="1076"/>
          <ac:picMkLst>
            <pc:docMk/>
            <pc:sldMk cId="3510144726" sldId="340"/>
            <ac:picMk id="16" creationId="{2D0077C2-1673-DC41-1174-EA9E3A5EBC11}"/>
          </ac:picMkLst>
        </pc:picChg>
        <pc:picChg chg="add mod">
          <ac:chgData name="Thomas Stensitzki" userId="75cafe6b-2f2a-469b-85c4-eec3b9c972ba" providerId="ADAL" clId="{87C52934-9D1F-4A55-8B74-95F1C1650845}" dt="2023-05-05T12:59:58.940" v="409" actId="1076"/>
          <ac:picMkLst>
            <pc:docMk/>
            <pc:sldMk cId="3510144726" sldId="340"/>
            <ac:picMk id="17" creationId="{DAB1CF3C-3C05-E20A-ED83-955BB0D12F64}"/>
          </ac:picMkLst>
        </pc:picChg>
        <pc:picChg chg="add mod">
          <ac:chgData name="Thomas Stensitzki" userId="75cafe6b-2f2a-469b-85c4-eec3b9c972ba" providerId="ADAL" clId="{87C52934-9D1F-4A55-8B74-95F1C1650845}" dt="2023-05-05T12:59:58.940" v="409" actId="1076"/>
          <ac:picMkLst>
            <pc:docMk/>
            <pc:sldMk cId="3510144726" sldId="340"/>
            <ac:picMk id="18" creationId="{D102802B-5252-E790-319B-41E42759D1F2}"/>
          </ac:picMkLst>
        </pc:picChg>
        <pc:picChg chg="add mod">
          <ac:chgData name="Thomas Stensitzki" userId="75cafe6b-2f2a-469b-85c4-eec3b9c972ba" providerId="ADAL" clId="{87C52934-9D1F-4A55-8B74-95F1C1650845}" dt="2023-05-05T12:59:58.940" v="409" actId="1076"/>
          <ac:picMkLst>
            <pc:docMk/>
            <pc:sldMk cId="3510144726" sldId="340"/>
            <ac:picMk id="19" creationId="{44C75EB5-D68A-189E-F6E6-9EDCBC4A89B6}"/>
          </ac:picMkLst>
        </pc:picChg>
        <pc:picChg chg="add mod">
          <ac:chgData name="Thomas Stensitzki" userId="75cafe6b-2f2a-469b-85c4-eec3b9c972ba" providerId="ADAL" clId="{87C52934-9D1F-4A55-8B74-95F1C1650845}" dt="2023-05-05T13:00:07.786" v="410" actId="1076"/>
          <ac:picMkLst>
            <pc:docMk/>
            <pc:sldMk cId="3510144726" sldId="340"/>
            <ac:picMk id="24" creationId="{AEA7F600-1A07-7428-94FC-E22723921142}"/>
          </ac:picMkLst>
        </pc:picChg>
        <pc:picChg chg="add mod">
          <ac:chgData name="Thomas Stensitzki" userId="75cafe6b-2f2a-469b-85c4-eec3b9c972ba" providerId="ADAL" clId="{87C52934-9D1F-4A55-8B74-95F1C1650845}" dt="2023-05-05T13:01:01.835" v="427" actId="1076"/>
          <ac:picMkLst>
            <pc:docMk/>
            <pc:sldMk cId="3510144726" sldId="340"/>
            <ac:picMk id="25" creationId="{B7DF07EF-4D1E-5BB0-956D-06AA8959C774}"/>
          </ac:picMkLst>
        </pc:picChg>
        <pc:picChg chg="add mod">
          <ac:chgData name="Thomas Stensitzki" userId="75cafe6b-2f2a-469b-85c4-eec3b9c972ba" providerId="ADAL" clId="{87C52934-9D1F-4A55-8B74-95F1C1650845}" dt="2023-05-05T12:59:58.940" v="409" actId="1076"/>
          <ac:picMkLst>
            <pc:docMk/>
            <pc:sldMk cId="3510144726" sldId="340"/>
            <ac:picMk id="32" creationId="{A9C2C203-CE69-A0D2-54F6-0302E1DC0C19}"/>
          </ac:picMkLst>
        </pc:picChg>
        <pc:cxnChg chg="add mod">
          <ac:chgData name="Thomas Stensitzki" userId="75cafe6b-2f2a-469b-85c4-eec3b9c972ba" providerId="ADAL" clId="{87C52934-9D1F-4A55-8B74-95F1C1650845}" dt="2023-05-05T12:59:58.940" v="409" actId="1076"/>
          <ac:cxnSpMkLst>
            <pc:docMk/>
            <pc:sldMk cId="3510144726" sldId="340"/>
            <ac:cxnSpMk id="12" creationId="{0B29660E-F21D-7992-4F21-C7E4F9C1E710}"/>
          </ac:cxnSpMkLst>
        </pc:cxnChg>
        <pc:cxnChg chg="add mod">
          <ac:chgData name="Thomas Stensitzki" userId="75cafe6b-2f2a-469b-85c4-eec3b9c972ba" providerId="ADAL" clId="{87C52934-9D1F-4A55-8B74-95F1C1650845}" dt="2023-05-05T12:59:58.940" v="409" actId="1076"/>
          <ac:cxnSpMkLst>
            <pc:docMk/>
            <pc:sldMk cId="3510144726" sldId="340"/>
            <ac:cxnSpMk id="14" creationId="{A99257CC-072D-5F4E-EE61-C1FA2B1DD875}"/>
          </ac:cxnSpMkLst>
        </pc:cxnChg>
        <pc:cxnChg chg="add mod">
          <ac:chgData name="Thomas Stensitzki" userId="75cafe6b-2f2a-469b-85c4-eec3b9c972ba" providerId="ADAL" clId="{87C52934-9D1F-4A55-8B74-95F1C1650845}" dt="2023-05-05T12:59:58.940" v="409" actId="1076"/>
          <ac:cxnSpMkLst>
            <pc:docMk/>
            <pc:sldMk cId="3510144726" sldId="340"/>
            <ac:cxnSpMk id="20" creationId="{25B12B04-B75F-BADF-8574-6EBD34547B99}"/>
          </ac:cxnSpMkLst>
        </pc:cxnChg>
        <pc:cxnChg chg="add mod">
          <ac:chgData name="Thomas Stensitzki" userId="75cafe6b-2f2a-469b-85c4-eec3b9c972ba" providerId="ADAL" clId="{87C52934-9D1F-4A55-8B74-95F1C1650845}" dt="2023-05-05T13:00:07.786" v="410" actId="1076"/>
          <ac:cxnSpMkLst>
            <pc:docMk/>
            <pc:sldMk cId="3510144726" sldId="340"/>
            <ac:cxnSpMk id="26" creationId="{905785EB-2500-FAA2-3626-2B907410A5AF}"/>
          </ac:cxnSpMkLst>
        </pc:cxnChg>
        <pc:cxnChg chg="add mod">
          <ac:chgData name="Thomas Stensitzki" userId="75cafe6b-2f2a-469b-85c4-eec3b9c972ba" providerId="ADAL" clId="{87C52934-9D1F-4A55-8B74-95F1C1650845}" dt="2023-05-11T14:50:39.383" v="1011" actId="403"/>
          <ac:cxnSpMkLst>
            <pc:docMk/>
            <pc:sldMk cId="3510144726" sldId="340"/>
            <ac:cxnSpMk id="27" creationId="{AE1769A3-C849-1088-D5CD-E12895CA0C57}"/>
          </ac:cxnSpMkLst>
        </pc:cxnChg>
        <pc:cxnChg chg="add mod">
          <ac:chgData name="Thomas Stensitzki" userId="75cafe6b-2f2a-469b-85c4-eec3b9c972ba" providerId="ADAL" clId="{87C52934-9D1F-4A55-8B74-95F1C1650845}" dt="2023-05-05T13:00:07.786" v="410" actId="1076"/>
          <ac:cxnSpMkLst>
            <pc:docMk/>
            <pc:sldMk cId="3510144726" sldId="340"/>
            <ac:cxnSpMk id="28" creationId="{5DD704FA-9EC9-0D0C-44AA-BDA80C793987}"/>
          </ac:cxnSpMkLst>
        </pc:cxnChg>
      </pc:sldChg>
      <pc:sldChg chg="addSp delSp modSp new mod">
        <pc:chgData name="Thomas Stensitzki" userId="75cafe6b-2f2a-469b-85c4-eec3b9c972ba" providerId="ADAL" clId="{87C52934-9D1F-4A55-8B74-95F1C1650845}" dt="2023-05-05T13:03:38.920" v="460" actId="14100"/>
        <pc:sldMkLst>
          <pc:docMk/>
          <pc:sldMk cId="270337699" sldId="341"/>
        </pc:sldMkLst>
        <pc:spChg chg="mod">
          <ac:chgData name="Thomas Stensitzki" userId="75cafe6b-2f2a-469b-85c4-eec3b9c972ba" providerId="ADAL" clId="{87C52934-9D1F-4A55-8B74-95F1C1650845}" dt="2023-05-05T12:56:44.158" v="245"/>
          <ac:spMkLst>
            <pc:docMk/>
            <pc:sldMk cId="270337699" sldId="341"/>
            <ac:spMk id="2" creationId="{D50D20D3-47DB-734D-C4C6-94C08F46498E}"/>
          </ac:spMkLst>
        </pc:spChg>
        <pc:spChg chg="del">
          <ac:chgData name="Thomas Stensitzki" userId="75cafe6b-2f2a-469b-85c4-eec3b9c972ba" providerId="ADAL" clId="{87C52934-9D1F-4A55-8B74-95F1C1650845}" dt="2023-05-05T12:56:25.433" v="244" actId="478"/>
          <ac:spMkLst>
            <pc:docMk/>
            <pc:sldMk cId="270337699" sldId="341"/>
            <ac:spMk id="3" creationId="{7471A8AB-75B9-BF6A-398D-8E839CC30200}"/>
          </ac:spMkLst>
        </pc:spChg>
        <pc:spChg chg="add del">
          <ac:chgData name="Thomas Stensitzki" userId="75cafe6b-2f2a-469b-85c4-eec3b9c972ba" providerId="ADAL" clId="{87C52934-9D1F-4A55-8B74-95F1C1650845}" dt="2023-05-05T12:57:01.857" v="247" actId="22"/>
          <ac:spMkLst>
            <pc:docMk/>
            <pc:sldMk cId="270337699" sldId="341"/>
            <ac:spMk id="5" creationId="{2C18E94E-E855-B068-1411-37DB938C6E44}"/>
          </ac:spMkLst>
        </pc:spChg>
        <pc:spChg chg="add mod">
          <ac:chgData name="Thomas Stensitzki" userId="75cafe6b-2f2a-469b-85c4-eec3b9c972ba" providerId="ADAL" clId="{87C52934-9D1F-4A55-8B74-95F1C1650845}" dt="2023-05-05T13:02:29.551" v="443" actId="1076"/>
          <ac:spMkLst>
            <pc:docMk/>
            <pc:sldMk cId="270337699" sldId="341"/>
            <ac:spMk id="6" creationId="{A1742F5F-752E-305E-22E9-2216A84C9F86}"/>
          </ac:spMkLst>
        </pc:spChg>
        <pc:spChg chg="add mod">
          <ac:chgData name="Thomas Stensitzki" userId="75cafe6b-2f2a-469b-85c4-eec3b9c972ba" providerId="ADAL" clId="{87C52934-9D1F-4A55-8B74-95F1C1650845}" dt="2023-05-05T13:02:54.904" v="450" actId="20577"/>
          <ac:spMkLst>
            <pc:docMk/>
            <pc:sldMk cId="270337699" sldId="341"/>
            <ac:spMk id="9" creationId="{8D70B735-0E6F-4FEE-F006-DAAFA2431620}"/>
          </ac:spMkLst>
        </pc:spChg>
        <pc:spChg chg="add mod">
          <ac:chgData name="Thomas Stensitzki" userId="75cafe6b-2f2a-469b-85c4-eec3b9c972ba" providerId="ADAL" clId="{87C52934-9D1F-4A55-8B74-95F1C1650845}" dt="2023-05-05T13:02:29.551" v="443" actId="1076"/>
          <ac:spMkLst>
            <pc:docMk/>
            <pc:sldMk cId="270337699" sldId="341"/>
            <ac:spMk id="13" creationId="{BBCC8FC1-2777-67EF-9DBA-1DF26531FB95}"/>
          </ac:spMkLst>
        </pc:spChg>
        <pc:spChg chg="add mod">
          <ac:chgData name="Thomas Stensitzki" userId="75cafe6b-2f2a-469b-85c4-eec3b9c972ba" providerId="ADAL" clId="{87C52934-9D1F-4A55-8B74-95F1C1650845}" dt="2023-05-05T13:02:29.551" v="443" actId="1076"/>
          <ac:spMkLst>
            <pc:docMk/>
            <pc:sldMk cId="270337699" sldId="341"/>
            <ac:spMk id="19" creationId="{C06814BA-EFB7-3248-8656-BC4DF21F8BE7}"/>
          </ac:spMkLst>
        </pc:spChg>
        <pc:spChg chg="add mod">
          <ac:chgData name="Thomas Stensitzki" userId="75cafe6b-2f2a-469b-85c4-eec3b9c972ba" providerId="ADAL" clId="{87C52934-9D1F-4A55-8B74-95F1C1650845}" dt="2023-05-05T13:02:29.551" v="443" actId="1076"/>
          <ac:spMkLst>
            <pc:docMk/>
            <pc:sldMk cId="270337699" sldId="341"/>
            <ac:spMk id="20" creationId="{56BA8C71-5A86-7ED4-6142-EF7AA37F7E8E}"/>
          </ac:spMkLst>
        </pc:spChg>
        <pc:spChg chg="add mod">
          <ac:chgData name="Thomas Stensitzki" userId="75cafe6b-2f2a-469b-85c4-eec3b9c972ba" providerId="ADAL" clId="{87C52934-9D1F-4A55-8B74-95F1C1650845}" dt="2023-05-05T13:03:38.920" v="460" actId="14100"/>
          <ac:spMkLst>
            <pc:docMk/>
            <pc:sldMk cId="270337699" sldId="341"/>
            <ac:spMk id="23" creationId="{E602E83B-968B-2AE9-1752-81ECA68354F5}"/>
          </ac:spMkLst>
        </pc:spChg>
        <pc:spChg chg="add mod">
          <ac:chgData name="Thomas Stensitzki" userId="75cafe6b-2f2a-469b-85c4-eec3b9c972ba" providerId="ADAL" clId="{87C52934-9D1F-4A55-8B74-95F1C1650845}" dt="2023-05-05T13:03:31.458" v="459" actId="6549"/>
          <ac:spMkLst>
            <pc:docMk/>
            <pc:sldMk cId="270337699" sldId="341"/>
            <ac:spMk id="27" creationId="{A7A0E8CC-7EFB-65C8-E33D-8F9BA88721DD}"/>
          </ac:spMkLst>
        </pc:spChg>
        <pc:spChg chg="add mod">
          <ac:chgData name="Thomas Stensitzki" userId="75cafe6b-2f2a-469b-85c4-eec3b9c972ba" providerId="ADAL" clId="{87C52934-9D1F-4A55-8B74-95F1C1650845}" dt="2023-05-05T13:02:29.551" v="443" actId="1076"/>
          <ac:spMkLst>
            <pc:docMk/>
            <pc:sldMk cId="270337699" sldId="341"/>
            <ac:spMk id="28" creationId="{6A019980-6F30-B6DC-8B06-A1A2D4766129}"/>
          </ac:spMkLst>
        </pc:spChg>
        <pc:spChg chg="add mod">
          <ac:chgData name="Thomas Stensitzki" userId="75cafe6b-2f2a-469b-85c4-eec3b9c972ba" providerId="ADAL" clId="{87C52934-9D1F-4A55-8B74-95F1C1650845}" dt="2023-05-05T13:02:29.551" v="443" actId="1076"/>
          <ac:spMkLst>
            <pc:docMk/>
            <pc:sldMk cId="270337699" sldId="341"/>
            <ac:spMk id="29" creationId="{13B71BFD-23A1-8E1B-F310-D0A413D83D9A}"/>
          </ac:spMkLst>
        </pc:spChg>
        <pc:spChg chg="add mod">
          <ac:chgData name="Thomas Stensitzki" userId="75cafe6b-2f2a-469b-85c4-eec3b9c972ba" providerId="ADAL" clId="{87C52934-9D1F-4A55-8B74-95F1C1650845}" dt="2023-05-05T13:03:12.223" v="452" actId="1076"/>
          <ac:spMkLst>
            <pc:docMk/>
            <pc:sldMk cId="270337699" sldId="341"/>
            <ac:spMk id="31" creationId="{2DDBD975-64BA-654B-E6E6-95FA80B76568}"/>
          </ac:spMkLst>
        </pc:spChg>
        <pc:spChg chg="add mod">
          <ac:chgData name="Thomas Stensitzki" userId="75cafe6b-2f2a-469b-85c4-eec3b9c972ba" providerId="ADAL" clId="{87C52934-9D1F-4A55-8B74-95F1C1650845}" dt="2023-05-05T13:03:17.865" v="454" actId="1076"/>
          <ac:spMkLst>
            <pc:docMk/>
            <pc:sldMk cId="270337699" sldId="341"/>
            <ac:spMk id="32" creationId="{2F566007-F318-24E3-0E37-B2F3C7223545}"/>
          </ac:spMkLst>
        </pc:spChg>
        <pc:picChg chg="add mod">
          <ac:chgData name="Thomas Stensitzki" userId="75cafe6b-2f2a-469b-85c4-eec3b9c972ba" providerId="ADAL" clId="{87C52934-9D1F-4A55-8B74-95F1C1650845}" dt="2023-05-05T13:02:29.551" v="443" actId="1076"/>
          <ac:picMkLst>
            <pc:docMk/>
            <pc:sldMk cId="270337699" sldId="341"/>
            <ac:picMk id="7" creationId="{1946C941-2C99-62D7-ABD1-D8BC1EA4EB17}"/>
          </ac:picMkLst>
        </pc:picChg>
        <pc:picChg chg="add mod">
          <ac:chgData name="Thomas Stensitzki" userId="75cafe6b-2f2a-469b-85c4-eec3b9c972ba" providerId="ADAL" clId="{87C52934-9D1F-4A55-8B74-95F1C1650845}" dt="2023-05-05T13:02:29.551" v="443" actId="1076"/>
          <ac:picMkLst>
            <pc:docMk/>
            <pc:sldMk cId="270337699" sldId="341"/>
            <ac:picMk id="8" creationId="{A5FDE6D1-8C15-DBF7-FB27-1E1FAB0A1068}"/>
          </ac:picMkLst>
        </pc:picChg>
        <pc:picChg chg="add mod">
          <ac:chgData name="Thomas Stensitzki" userId="75cafe6b-2f2a-469b-85c4-eec3b9c972ba" providerId="ADAL" clId="{87C52934-9D1F-4A55-8B74-95F1C1650845}" dt="2023-05-05T13:02:29.551" v="443" actId="1076"/>
          <ac:picMkLst>
            <pc:docMk/>
            <pc:sldMk cId="270337699" sldId="341"/>
            <ac:picMk id="11" creationId="{C4EE9076-4183-757E-1638-21CC41F3ADBD}"/>
          </ac:picMkLst>
        </pc:picChg>
        <pc:picChg chg="add mod">
          <ac:chgData name="Thomas Stensitzki" userId="75cafe6b-2f2a-469b-85c4-eec3b9c972ba" providerId="ADAL" clId="{87C52934-9D1F-4A55-8B74-95F1C1650845}" dt="2023-05-05T13:02:29.551" v="443" actId="1076"/>
          <ac:picMkLst>
            <pc:docMk/>
            <pc:sldMk cId="270337699" sldId="341"/>
            <ac:picMk id="14" creationId="{F1AD2F2F-0280-34FA-4F8B-4D4B26B9F126}"/>
          </ac:picMkLst>
        </pc:picChg>
        <pc:picChg chg="add mod">
          <ac:chgData name="Thomas Stensitzki" userId="75cafe6b-2f2a-469b-85c4-eec3b9c972ba" providerId="ADAL" clId="{87C52934-9D1F-4A55-8B74-95F1C1650845}" dt="2023-05-05T13:02:29.551" v="443" actId="1076"/>
          <ac:picMkLst>
            <pc:docMk/>
            <pc:sldMk cId="270337699" sldId="341"/>
            <ac:picMk id="15" creationId="{A99F6826-E540-D5C9-F24E-55BE55D5232F}"/>
          </ac:picMkLst>
        </pc:picChg>
        <pc:picChg chg="add mod">
          <ac:chgData name="Thomas Stensitzki" userId="75cafe6b-2f2a-469b-85c4-eec3b9c972ba" providerId="ADAL" clId="{87C52934-9D1F-4A55-8B74-95F1C1650845}" dt="2023-05-05T13:02:29.551" v="443" actId="1076"/>
          <ac:picMkLst>
            <pc:docMk/>
            <pc:sldMk cId="270337699" sldId="341"/>
            <ac:picMk id="16" creationId="{C74D9C38-15B0-485B-FB90-034CC2DDAD1C}"/>
          </ac:picMkLst>
        </pc:picChg>
        <pc:picChg chg="add mod">
          <ac:chgData name="Thomas Stensitzki" userId="75cafe6b-2f2a-469b-85c4-eec3b9c972ba" providerId="ADAL" clId="{87C52934-9D1F-4A55-8B74-95F1C1650845}" dt="2023-05-05T13:02:29.551" v="443" actId="1076"/>
          <ac:picMkLst>
            <pc:docMk/>
            <pc:sldMk cId="270337699" sldId="341"/>
            <ac:picMk id="17" creationId="{4BA691B8-4D4E-8E70-2C69-8E15AB304AC7}"/>
          </ac:picMkLst>
        </pc:picChg>
        <pc:picChg chg="add mod">
          <ac:chgData name="Thomas Stensitzki" userId="75cafe6b-2f2a-469b-85c4-eec3b9c972ba" providerId="ADAL" clId="{87C52934-9D1F-4A55-8B74-95F1C1650845}" dt="2023-05-05T13:02:29.551" v="443" actId="1076"/>
          <ac:picMkLst>
            <pc:docMk/>
            <pc:sldMk cId="270337699" sldId="341"/>
            <ac:picMk id="21" creationId="{28578A41-8F39-6043-351C-0BA2B19540B1}"/>
          </ac:picMkLst>
        </pc:picChg>
        <pc:picChg chg="add mod">
          <ac:chgData name="Thomas Stensitzki" userId="75cafe6b-2f2a-469b-85c4-eec3b9c972ba" providerId="ADAL" clId="{87C52934-9D1F-4A55-8B74-95F1C1650845}" dt="2023-05-05T13:02:29.551" v="443" actId="1076"/>
          <ac:picMkLst>
            <pc:docMk/>
            <pc:sldMk cId="270337699" sldId="341"/>
            <ac:picMk id="24" creationId="{2B1BAA54-FAF7-46C9-0D1C-4A6D963F981A}"/>
          </ac:picMkLst>
        </pc:picChg>
        <pc:picChg chg="add mod">
          <ac:chgData name="Thomas Stensitzki" userId="75cafe6b-2f2a-469b-85c4-eec3b9c972ba" providerId="ADAL" clId="{87C52934-9D1F-4A55-8B74-95F1C1650845}" dt="2023-05-05T13:02:29.551" v="443" actId="1076"/>
          <ac:picMkLst>
            <pc:docMk/>
            <pc:sldMk cId="270337699" sldId="341"/>
            <ac:picMk id="25" creationId="{2E9FBDDA-F801-71D6-1218-065272ED3014}"/>
          </ac:picMkLst>
        </pc:picChg>
        <pc:picChg chg="add mod">
          <ac:chgData name="Thomas Stensitzki" userId="75cafe6b-2f2a-469b-85c4-eec3b9c972ba" providerId="ADAL" clId="{87C52934-9D1F-4A55-8B74-95F1C1650845}" dt="2023-05-05T13:02:29.551" v="443" actId="1076"/>
          <ac:picMkLst>
            <pc:docMk/>
            <pc:sldMk cId="270337699" sldId="341"/>
            <ac:picMk id="30" creationId="{FB4E7F61-C0E1-31A5-FF70-6B141BC7D1B4}"/>
          </ac:picMkLst>
        </pc:picChg>
        <pc:cxnChg chg="add mod">
          <ac:chgData name="Thomas Stensitzki" userId="75cafe6b-2f2a-469b-85c4-eec3b9c972ba" providerId="ADAL" clId="{87C52934-9D1F-4A55-8B74-95F1C1650845}" dt="2023-05-05T13:02:29.551" v="443" actId="1076"/>
          <ac:cxnSpMkLst>
            <pc:docMk/>
            <pc:sldMk cId="270337699" sldId="341"/>
            <ac:cxnSpMk id="10" creationId="{4D163812-B91F-6CFF-2D76-21138A8BA964}"/>
          </ac:cxnSpMkLst>
        </pc:cxnChg>
        <pc:cxnChg chg="add mod">
          <ac:chgData name="Thomas Stensitzki" userId="75cafe6b-2f2a-469b-85c4-eec3b9c972ba" providerId="ADAL" clId="{87C52934-9D1F-4A55-8B74-95F1C1650845}" dt="2023-05-05T13:02:29.551" v="443" actId="1076"/>
          <ac:cxnSpMkLst>
            <pc:docMk/>
            <pc:sldMk cId="270337699" sldId="341"/>
            <ac:cxnSpMk id="12" creationId="{875A92CB-A136-32D8-65E7-0B92A2AF5F45}"/>
          </ac:cxnSpMkLst>
        </pc:cxnChg>
        <pc:cxnChg chg="add mod">
          <ac:chgData name="Thomas Stensitzki" userId="75cafe6b-2f2a-469b-85c4-eec3b9c972ba" providerId="ADAL" clId="{87C52934-9D1F-4A55-8B74-95F1C1650845}" dt="2023-05-05T13:02:29.551" v="443" actId="1076"/>
          <ac:cxnSpMkLst>
            <pc:docMk/>
            <pc:sldMk cId="270337699" sldId="341"/>
            <ac:cxnSpMk id="18" creationId="{2CD33ACD-7299-7C2F-CE16-10112031893A}"/>
          </ac:cxnSpMkLst>
        </pc:cxnChg>
        <pc:cxnChg chg="add mod">
          <ac:chgData name="Thomas Stensitzki" userId="75cafe6b-2f2a-469b-85c4-eec3b9c972ba" providerId="ADAL" clId="{87C52934-9D1F-4A55-8B74-95F1C1650845}" dt="2023-05-05T13:02:29.551" v="443" actId="1076"/>
          <ac:cxnSpMkLst>
            <pc:docMk/>
            <pc:sldMk cId="270337699" sldId="341"/>
            <ac:cxnSpMk id="22" creationId="{EB7C0F5E-9FCE-8ADD-3D9A-A650DA1905FC}"/>
          </ac:cxnSpMkLst>
        </pc:cxnChg>
        <pc:cxnChg chg="add mod">
          <ac:chgData name="Thomas Stensitzki" userId="75cafe6b-2f2a-469b-85c4-eec3b9c972ba" providerId="ADAL" clId="{87C52934-9D1F-4A55-8B74-95F1C1650845}" dt="2023-05-05T13:02:29.551" v="443" actId="1076"/>
          <ac:cxnSpMkLst>
            <pc:docMk/>
            <pc:sldMk cId="270337699" sldId="341"/>
            <ac:cxnSpMk id="26" creationId="{9AC83875-6C02-A7D2-9B22-F5FF31D58B6E}"/>
          </ac:cxnSpMkLst>
        </pc:cxnChg>
      </pc:sldChg>
      <pc:sldChg chg="addSp delSp modSp new mod modAnim">
        <pc:chgData name="Thomas Stensitzki" userId="75cafe6b-2f2a-469b-85c4-eec3b9c972ba" providerId="ADAL" clId="{87C52934-9D1F-4A55-8B74-95F1C1650845}" dt="2023-05-11T14:51:07.551" v="1022" actId="20577"/>
        <pc:sldMkLst>
          <pc:docMk/>
          <pc:sldMk cId="2906120191" sldId="342"/>
        </pc:sldMkLst>
        <pc:spChg chg="mod">
          <ac:chgData name="Thomas Stensitzki" userId="75cafe6b-2f2a-469b-85c4-eec3b9c972ba" providerId="ADAL" clId="{87C52934-9D1F-4A55-8B74-95F1C1650845}" dt="2023-05-05T12:57:40.875" v="251"/>
          <ac:spMkLst>
            <pc:docMk/>
            <pc:sldMk cId="2906120191" sldId="342"/>
            <ac:spMk id="2" creationId="{29484126-C62B-0BAD-8455-19F0DAB1F442}"/>
          </ac:spMkLst>
        </pc:spChg>
        <pc:spChg chg="del">
          <ac:chgData name="Thomas Stensitzki" userId="75cafe6b-2f2a-469b-85c4-eec3b9c972ba" providerId="ADAL" clId="{87C52934-9D1F-4A55-8B74-95F1C1650845}" dt="2023-05-05T12:57:33.755" v="250" actId="478"/>
          <ac:spMkLst>
            <pc:docMk/>
            <pc:sldMk cId="2906120191" sldId="342"/>
            <ac:spMk id="3" creationId="{3AFD7241-C004-00D6-7DFF-C5EDC9D1972C}"/>
          </ac:spMkLst>
        </pc:spChg>
        <pc:spChg chg="add mod">
          <ac:chgData name="Thomas Stensitzki" userId="75cafe6b-2f2a-469b-85c4-eec3b9c972ba" providerId="ADAL" clId="{87C52934-9D1F-4A55-8B74-95F1C1650845}" dt="2023-05-05T13:04:09.299" v="462" actId="1076"/>
          <ac:spMkLst>
            <pc:docMk/>
            <pc:sldMk cId="2906120191" sldId="342"/>
            <ac:spMk id="4" creationId="{D68CE957-C20A-3639-09E7-A21A87B1D6F8}"/>
          </ac:spMkLst>
        </pc:spChg>
        <pc:spChg chg="add mod">
          <ac:chgData name="Thomas Stensitzki" userId="75cafe6b-2f2a-469b-85c4-eec3b9c972ba" providerId="ADAL" clId="{87C52934-9D1F-4A55-8B74-95F1C1650845}" dt="2023-05-05T13:04:09.299" v="462" actId="1076"/>
          <ac:spMkLst>
            <pc:docMk/>
            <pc:sldMk cId="2906120191" sldId="342"/>
            <ac:spMk id="6" creationId="{AF68A86D-234C-04AD-47B8-1BB0E30BC367}"/>
          </ac:spMkLst>
        </pc:spChg>
        <pc:spChg chg="add mod">
          <ac:chgData name="Thomas Stensitzki" userId="75cafe6b-2f2a-469b-85c4-eec3b9c972ba" providerId="ADAL" clId="{87C52934-9D1F-4A55-8B74-95F1C1650845}" dt="2023-05-05T13:04:19.130" v="464" actId="14100"/>
          <ac:spMkLst>
            <pc:docMk/>
            <pc:sldMk cId="2906120191" sldId="342"/>
            <ac:spMk id="8" creationId="{008875B2-4EA9-3043-3A72-D91905461EF3}"/>
          </ac:spMkLst>
        </pc:spChg>
        <pc:spChg chg="add mod">
          <ac:chgData name="Thomas Stensitzki" userId="75cafe6b-2f2a-469b-85c4-eec3b9c972ba" providerId="ADAL" clId="{87C52934-9D1F-4A55-8B74-95F1C1650845}" dt="2023-05-05T13:04:09.299" v="462" actId="1076"/>
          <ac:spMkLst>
            <pc:docMk/>
            <pc:sldMk cId="2906120191" sldId="342"/>
            <ac:spMk id="12" creationId="{3D8B25A8-5EC5-6AD0-5B2C-951504C271FC}"/>
          </ac:spMkLst>
        </pc:spChg>
        <pc:spChg chg="add mod">
          <ac:chgData name="Thomas Stensitzki" userId="75cafe6b-2f2a-469b-85c4-eec3b9c972ba" providerId="ADAL" clId="{87C52934-9D1F-4A55-8B74-95F1C1650845}" dt="2023-05-11T14:51:07.551" v="1022" actId="20577"/>
          <ac:spMkLst>
            <pc:docMk/>
            <pc:sldMk cId="2906120191" sldId="342"/>
            <ac:spMk id="14" creationId="{4D1CB8AC-4879-79E1-DEC1-4E04A9097133}"/>
          </ac:spMkLst>
        </pc:spChg>
        <pc:spChg chg="add mod">
          <ac:chgData name="Thomas Stensitzki" userId="75cafe6b-2f2a-469b-85c4-eec3b9c972ba" providerId="ADAL" clId="{87C52934-9D1F-4A55-8B74-95F1C1650845}" dt="2023-05-05T13:04:41.554" v="476" actId="20577"/>
          <ac:spMkLst>
            <pc:docMk/>
            <pc:sldMk cId="2906120191" sldId="342"/>
            <ac:spMk id="15" creationId="{C85AE0B4-4EFE-F50A-AEED-9AD7A41FC4EA}"/>
          </ac:spMkLst>
        </pc:spChg>
        <pc:spChg chg="add mod">
          <ac:chgData name="Thomas Stensitzki" userId="75cafe6b-2f2a-469b-85c4-eec3b9c972ba" providerId="ADAL" clId="{87C52934-9D1F-4A55-8B74-95F1C1650845}" dt="2023-05-05T13:04:09.299" v="462" actId="1076"/>
          <ac:spMkLst>
            <pc:docMk/>
            <pc:sldMk cId="2906120191" sldId="342"/>
            <ac:spMk id="19" creationId="{BE3DD4DB-401C-6C27-5319-C98908938E60}"/>
          </ac:spMkLst>
        </pc:spChg>
        <pc:spChg chg="add mod">
          <ac:chgData name="Thomas Stensitzki" userId="75cafe6b-2f2a-469b-85c4-eec3b9c972ba" providerId="ADAL" clId="{87C52934-9D1F-4A55-8B74-95F1C1650845}" dt="2023-05-05T13:04:09.299" v="462" actId="1076"/>
          <ac:spMkLst>
            <pc:docMk/>
            <pc:sldMk cId="2906120191" sldId="342"/>
            <ac:spMk id="20" creationId="{A8FB88B5-3637-FBBD-F016-3AC7E359ED2C}"/>
          </ac:spMkLst>
        </pc:spChg>
        <pc:spChg chg="add mod">
          <ac:chgData name="Thomas Stensitzki" userId="75cafe6b-2f2a-469b-85c4-eec3b9c972ba" providerId="ADAL" clId="{87C52934-9D1F-4A55-8B74-95F1C1650845}" dt="2023-05-05T13:04:09.299" v="462" actId="1076"/>
          <ac:spMkLst>
            <pc:docMk/>
            <pc:sldMk cId="2906120191" sldId="342"/>
            <ac:spMk id="21" creationId="{B90B79B9-963B-FAD2-228E-E31A44F816D0}"/>
          </ac:spMkLst>
        </pc:spChg>
        <pc:spChg chg="add del mod">
          <ac:chgData name="Thomas Stensitzki" userId="75cafe6b-2f2a-469b-85c4-eec3b9c972ba" providerId="ADAL" clId="{87C52934-9D1F-4A55-8B74-95F1C1650845}" dt="2023-05-05T13:04:12.714" v="463" actId="478"/>
          <ac:spMkLst>
            <pc:docMk/>
            <pc:sldMk cId="2906120191" sldId="342"/>
            <ac:spMk id="23" creationId="{18CBE07A-840C-1A84-E04B-175E65766927}"/>
          </ac:spMkLst>
        </pc:spChg>
        <pc:picChg chg="add mod">
          <ac:chgData name="Thomas Stensitzki" userId="75cafe6b-2f2a-469b-85c4-eec3b9c972ba" providerId="ADAL" clId="{87C52934-9D1F-4A55-8B74-95F1C1650845}" dt="2023-05-05T13:04:09.299" v="462" actId="1076"/>
          <ac:picMkLst>
            <pc:docMk/>
            <pc:sldMk cId="2906120191" sldId="342"/>
            <ac:picMk id="9" creationId="{4B15DE6C-48E0-EFD6-5295-E82187F85EA3}"/>
          </ac:picMkLst>
        </pc:picChg>
        <pc:picChg chg="add mod">
          <ac:chgData name="Thomas Stensitzki" userId="75cafe6b-2f2a-469b-85c4-eec3b9c972ba" providerId="ADAL" clId="{87C52934-9D1F-4A55-8B74-95F1C1650845}" dt="2023-05-05T13:04:09.299" v="462" actId="1076"/>
          <ac:picMkLst>
            <pc:docMk/>
            <pc:sldMk cId="2906120191" sldId="342"/>
            <ac:picMk id="10" creationId="{826C2858-1879-6E29-BF28-AE46A5039CD4}"/>
          </ac:picMkLst>
        </pc:picChg>
        <pc:picChg chg="add mod">
          <ac:chgData name="Thomas Stensitzki" userId="75cafe6b-2f2a-469b-85c4-eec3b9c972ba" providerId="ADAL" clId="{87C52934-9D1F-4A55-8B74-95F1C1650845}" dt="2023-05-05T13:04:09.299" v="462" actId="1076"/>
          <ac:picMkLst>
            <pc:docMk/>
            <pc:sldMk cId="2906120191" sldId="342"/>
            <ac:picMk id="11" creationId="{79299189-CD7F-8E17-56FF-5EE448B807FA}"/>
          </ac:picMkLst>
        </pc:picChg>
        <pc:picChg chg="add mod">
          <ac:chgData name="Thomas Stensitzki" userId="75cafe6b-2f2a-469b-85c4-eec3b9c972ba" providerId="ADAL" clId="{87C52934-9D1F-4A55-8B74-95F1C1650845}" dt="2023-05-05T13:04:09.299" v="462" actId="1076"/>
          <ac:picMkLst>
            <pc:docMk/>
            <pc:sldMk cId="2906120191" sldId="342"/>
            <ac:picMk id="13" creationId="{D849D717-FEB6-3153-5F51-E435B94CAB11}"/>
          </ac:picMkLst>
        </pc:picChg>
        <pc:picChg chg="add mod">
          <ac:chgData name="Thomas Stensitzki" userId="75cafe6b-2f2a-469b-85c4-eec3b9c972ba" providerId="ADAL" clId="{87C52934-9D1F-4A55-8B74-95F1C1650845}" dt="2023-05-05T13:04:09.299" v="462" actId="1076"/>
          <ac:picMkLst>
            <pc:docMk/>
            <pc:sldMk cId="2906120191" sldId="342"/>
            <ac:picMk id="16" creationId="{01A7B5AC-2CC2-2BE2-457B-67DE6F980564}"/>
          </ac:picMkLst>
        </pc:picChg>
        <pc:picChg chg="add mod">
          <ac:chgData name="Thomas Stensitzki" userId="75cafe6b-2f2a-469b-85c4-eec3b9c972ba" providerId="ADAL" clId="{87C52934-9D1F-4A55-8B74-95F1C1650845}" dt="2023-05-05T13:04:09.299" v="462" actId="1076"/>
          <ac:picMkLst>
            <pc:docMk/>
            <pc:sldMk cId="2906120191" sldId="342"/>
            <ac:picMk id="22" creationId="{5EB1DE8A-E1E1-0789-9344-3E7B9E95AA9C}"/>
          </ac:picMkLst>
        </pc:picChg>
        <pc:cxnChg chg="add mod">
          <ac:chgData name="Thomas Stensitzki" userId="75cafe6b-2f2a-469b-85c4-eec3b9c972ba" providerId="ADAL" clId="{87C52934-9D1F-4A55-8B74-95F1C1650845}" dt="2023-05-05T13:04:09.299" v="462" actId="1076"/>
          <ac:cxnSpMkLst>
            <pc:docMk/>
            <pc:sldMk cId="2906120191" sldId="342"/>
            <ac:cxnSpMk id="5" creationId="{F9291E90-00AA-06EF-B139-D225B8E4817D}"/>
          </ac:cxnSpMkLst>
        </pc:cxnChg>
        <pc:cxnChg chg="add mod">
          <ac:chgData name="Thomas Stensitzki" userId="75cafe6b-2f2a-469b-85c4-eec3b9c972ba" providerId="ADAL" clId="{87C52934-9D1F-4A55-8B74-95F1C1650845}" dt="2023-05-05T13:04:09.299" v="462" actId="1076"/>
          <ac:cxnSpMkLst>
            <pc:docMk/>
            <pc:sldMk cId="2906120191" sldId="342"/>
            <ac:cxnSpMk id="7" creationId="{972D4280-EE9D-3BEB-6FB0-49B1A026419F}"/>
          </ac:cxnSpMkLst>
        </pc:cxnChg>
        <pc:cxnChg chg="add mod">
          <ac:chgData name="Thomas Stensitzki" userId="75cafe6b-2f2a-469b-85c4-eec3b9c972ba" providerId="ADAL" clId="{87C52934-9D1F-4A55-8B74-95F1C1650845}" dt="2023-05-05T13:04:09.299" v="462" actId="1076"/>
          <ac:cxnSpMkLst>
            <pc:docMk/>
            <pc:sldMk cId="2906120191" sldId="342"/>
            <ac:cxnSpMk id="17" creationId="{95E61385-11C6-D231-E7BF-58EEC50C1B00}"/>
          </ac:cxnSpMkLst>
        </pc:cxnChg>
        <pc:cxnChg chg="add mod">
          <ac:chgData name="Thomas Stensitzki" userId="75cafe6b-2f2a-469b-85c4-eec3b9c972ba" providerId="ADAL" clId="{87C52934-9D1F-4A55-8B74-95F1C1650845}" dt="2023-05-05T13:04:09.299" v="462" actId="1076"/>
          <ac:cxnSpMkLst>
            <pc:docMk/>
            <pc:sldMk cId="2906120191" sldId="342"/>
            <ac:cxnSpMk id="18" creationId="{1385E116-E36D-F248-F306-141A9102E8C7}"/>
          </ac:cxnSpMkLst>
        </pc:cxnChg>
      </pc:sldChg>
      <pc:sldChg chg="addSp delSp modSp new mod ord modAnim modNotesTx">
        <pc:chgData name="Thomas Stensitzki" userId="75cafe6b-2f2a-469b-85c4-eec3b9c972ba" providerId="ADAL" clId="{87C52934-9D1F-4A55-8B74-95F1C1650845}" dt="2023-05-11T08:13:20.994" v="881" actId="1037"/>
        <pc:sldMkLst>
          <pc:docMk/>
          <pc:sldMk cId="2702545491" sldId="343"/>
        </pc:sldMkLst>
        <pc:spChg chg="mod">
          <ac:chgData name="Thomas Stensitzki" userId="75cafe6b-2f2a-469b-85c4-eec3b9c972ba" providerId="ADAL" clId="{87C52934-9D1F-4A55-8B74-95F1C1650845}" dt="2023-05-05T12:58:36.567" v="294" actId="5793"/>
          <ac:spMkLst>
            <pc:docMk/>
            <pc:sldMk cId="2702545491" sldId="343"/>
            <ac:spMk id="2" creationId="{E8E62622-F289-340C-1C13-FA9101670307}"/>
          </ac:spMkLst>
        </pc:spChg>
        <pc:spChg chg="mod">
          <ac:chgData name="Thomas Stensitzki" userId="75cafe6b-2f2a-469b-85c4-eec3b9c972ba" providerId="ADAL" clId="{87C52934-9D1F-4A55-8B74-95F1C1650845}" dt="2023-05-11T08:10:26.549" v="852" actId="20577"/>
          <ac:spMkLst>
            <pc:docMk/>
            <pc:sldMk cId="2702545491" sldId="343"/>
            <ac:spMk id="3" creationId="{D0553ED5-E390-719E-74BD-4279315E32E3}"/>
          </ac:spMkLst>
        </pc:spChg>
        <pc:spChg chg="add del">
          <ac:chgData name="Thomas Stensitzki" userId="75cafe6b-2f2a-469b-85c4-eec3b9c972ba" providerId="ADAL" clId="{87C52934-9D1F-4A55-8B74-95F1C1650845}" dt="2023-05-11T08:10:13.770" v="845" actId="22"/>
          <ac:spMkLst>
            <pc:docMk/>
            <pc:sldMk cId="2702545491" sldId="343"/>
            <ac:spMk id="5" creationId="{E277848A-4884-1579-FAEC-C79085F2B43E}"/>
          </ac:spMkLst>
        </pc:spChg>
        <pc:picChg chg="add mod">
          <ac:chgData name="Thomas Stensitzki" userId="75cafe6b-2f2a-469b-85c4-eec3b9c972ba" providerId="ADAL" clId="{87C52934-9D1F-4A55-8B74-95F1C1650845}" dt="2023-05-11T08:10:41.242" v="855" actId="1076"/>
          <ac:picMkLst>
            <pc:docMk/>
            <pc:sldMk cId="2702545491" sldId="343"/>
            <ac:picMk id="7" creationId="{5A4301FD-13C7-A86F-BD1F-3A179BD3E1CF}"/>
          </ac:picMkLst>
        </pc:picChg>
        <pc:picChg chg="add mod">
          <ac:chgData name="Thomas Stensitzki" userId="75cafe6b-2f2a-469b-85c4-eec3b9c972ba" providerId="ADAL" clId="{87C52934-9D1F-4A55-8B74-95F1C1650845}" dt="2023-05-11T08:11:52.472" v="863" actId="1440"/>
          <ac:picMkLst>
            <pc:docMk/>
            <pc:sldMk cId="2702545491" sldId="343"/>
            <ac:picMk id="9" creationId="{E0314BFC-FA0B-7C00-2633-998834F6EA10}"/>
          </ac:picMkLst>
        </pc:picChg>
        <pc:picChg chg="add mod">
          <ac:chgData name="Thomas Stensitzki" userId="75cafe6b-2f2a-469b-85c4-eec3b9c972ba" providerId="ADAL" clId="{87C52934-9D1F-4A55-8B74-95F1C1650845}" dt="2023-05-11T08:13:20.994" v="881" actId="1037"/>
          <ac:picMkLst>
            <pc:docMk/>
            <pc:sldMk cId="2702545491" sldId="343"/>
            <ac:picMk id="13" creationId="{65CD63F4-D519-8DF4-8529-CA9792AA2C2E}"/>
          </ac:picMkLst>
        </pc:picChg>
        <pc:cxnChg chg="add mod">
          <ac:chgData name="Thomas Stensitzki" userId="75cafe6b-2f2a-469b-85c4-eec3b9c972ba" providerId="ADAL" clId="{87C52934-9D1F-4A55-8B74-95F1C1650845}" dt="2023-05-11T08:12:46.824" v="869" actId="14100"/>
          <ac:cxnSpMkLst>
            <pc:docMk/>
            <pc:sldMk cId="2702545491" sldId="343"/>
            <ac:cxnSpMk id="11" creationId="{CDC0716F-66C6-7072-64FE-864DF80D5C4C}"/>
          </ac:cxnSpMkLst>
        </pc:cxnChg>
      </pc:sldChg>
      <pc:sldChg chg="addSp modSp new del mod">
        <pc:chgData name="Thomas Stensitzki" userId="75cafe6b-2f2a-469b-85c4-eec3b9c972ba" providerId="ADAL" clId="{87C52934-9D1F-4A55-8B74-95F1C1650845}" dt="2023-05-11T07:54:08.956" v="607" actId="47"/>
        <pc:sldMkLst>
          <pc:docMk/>
          <pc:sldMk cId="2872083348" sldId="344"/>
        </pc:sldMkLst>
        <pc:spChg chg="mod">
          <ac:chgData name="Thomas Stensitzki" userId="75cafe6b-2f2a-469b-85c4-eec3b9c972ba" providerId="ADAL" clId="{87C52934-9D1F-4A55-8B74-95F1C1650845}" dt="2023-05-11T07:48:13.695" v="571" actId="20577"/>
          <ac:spMkLst>
            <pc:docMk/>
            <pc:sldMk cId="2872083348" sldId="344"/>
            <ac:spMk id="2" creationId="{A8A8850C-C3AD-5993-00C3-4D12B6A1194D}"/>
          </ac:spMkLst>
        </pc:spChg>
        <pc:spChg chg="mod">
          <ac:chgData name="Thomas Stensitzki" userId="75cafe6b-2f2a-469b-85c4-eec3b9c972ba" providerId="ADAL" clId="{87C52934-9D1F-4A55-8B74-95F1C1650845}" dt="2023-05-11T07:48:48.236" v="573" actId="20577"/>
          <ac:spMkLst>
            <pc:docMk/>
            <pc:sldMk cId="2872083348" sldId="344"/>
            <ac:spMk id="3" creationId="{F2300DD4-CAF1-07AB-2DA3-7EEA3151D6B3}"/>
          </ac:spMkLst>
        </pc:spChg>
        <pc:graphicFrameChg chg="add mod modGraphic">
          <ac:chgData name="Thomas Stensitzki" userId="75cafe6b-2f2a-469b-85c4-eec3b9c972ba" providerId="ADAL" clId="{87C52934-9D1F-4A55-8B74-95F1C1650845}" dt="2023-05-11T07:52:59.126" v="592"/>
          <ac:graphicFrameMkLst>
            <pc:docMk/>
            <pc:sldMk cId="2872083348" sldId="344"/>
            <ac:graphicFrameMk id="4" creationId="{F7AD9B60-CE36-5867-3EF0-F7F123FCDC10}"/>
          </ac:graphicFrameMkLst>
        </pc:graphicFrameChg>
      </pc:sldChg>
      <pc:sldChg chg="addSp delSp modSp add mod">
        <pc:chgData name="Thomas Stensitzki" userId="75cafe6b-2f2a-469b-85c4-eec3b9c972ba" providerId="ADAL" clId="{87C52934-9D1F-4A55-8B74-95F1C1650845}" dt="2023-05-11T08:13:36.730" v="882" actId="14734"/>
        <pc:sldMkLst>
          <pc:docMk/>
          <pc:sldMk cId="44897117" sldId="345"/>
        </pc:sldMkLst>
        <pc:spChg chg="mod">
          <ac:chgData name="Thomas Stensitzki" userId="75cafe6b-2f2a-469b-85c4-eec3b9c972ba" providerId="ADAL" clId="{87C52934-9D1F-4A55-8B74-95F1C1650845}" dt="2023-05-11T08:04:48.677" v="835"/>
          <ac:spMkLst>
            <pc:docMk/>
            <pc:sldMk cId="44897117" sldId="345"/>
            <ac:spMk id="2" creationId="{A8A8850C-C3AD-5993-00C3-4D12B6A1194D}"/>
          </ac:spMkLst>
        </pc:spChg>
        <pc:spChg chg="del mod">
          <ac:chgData name="Thomas Stensitzki" userId="75cafe6b-2f2a-469b-85c4-eec3b9c972ba" providerId="ADAL" clId="{87C52934-9D1F-4A55-8B74-95F1C1650845}" dt="2023-05-11T08:04:51.516" v="836" actId="478"/>
          <ac:spMkLst>
            <pc:docMk/>
            <pc:sldMk cId="44897117" sldId="345"/>
            <ac:spMk id="3" creationId="{F2300DD4-CAF1-07AB-2DA3-7EEA3151D6B3}"/>
          </ac:spMkLst>
        </pc:spChg>
        <pc:graphicFrameChg chg="del">
          <ac:chgData name="Thomas Stensitzki" userId="75cafe6b-2f2a-469b-85c4-eec3b9c972ba" providerId="ADAL" clId="{87C52934-9D1F-4A55-8B74-95F1C1650845}" dt="2023-05-11T07:52:49.978" v="590" actId="478"/>
          <ac:graphicFrameMkLst>
            <pc:docMk/>
            <pc:sldMk cId="44897117" sldId="345"/>
            <ac:graphicFrameMk id="4" creationId="{F7AD9B60-CE36-5867-3EF0-F7F123FCDC10}"/>
          </ac:graphicFrameMkLst>
        </pc:graphicFrameChg>
        <pc:graphicFrameChg chg="add mod modGraphic">
          <ac:chgData name="Thomas Stensitzki" userId="75cafe6b-2f2a-469b-85c4-eec3b9c972ba" providerId="ADAL" clId="{87C52934-9D1F-4A55-8B74-95F1C1650845}" dt="2023-05-11T08:13:36.730" v="882" actId="14734"/>
          <ac:graphicFrameMkLst>
            <pc:docMk/>
            <pc:sldMk cId="44897117" sldId="345"/>
            <ac:graphicFrameMk id="5" creationId="{B18E5043-2990-DBA4-4BD5-ECB74B18B475}"/>
          </ac:graphicFrameMkLst>
        </pc:graphicFrameChg>
      </pc:sldChg>
      <pc:sldChg chg="addSp delSp modSp add mod">
        <pc:chgData name="Thomas Stensitzki" userId="75cafe6b-2f2a-469b-85c4-eec3b9c972ba" providerId="ADAL" clId="{87C52934-9D1F-4A55-8B74-95F1C1650845}" dt="2023-05-11T08:14:35.957" v="895" actId="20577"/>
        <pc:sldMkLst>
          <pc:docMk/>
          <pc:sldMk cId="1336582735" sldId="346"/>
        </pc:sldMkLst>
        <pc:spChg chg="mod">
          <ac:chgData name="Thomas Stensitzki" userId="75cafe6b-2f2a-469b-85c4-eec3b9c972ba" providerId="ADAL" clId="{87C52934-9D1F-4A55-8B74-95F1C1650845}" dt="2023-05-11T08:14:35.957" v="895" actId="20577"/>
          <ac:spMkLst>
            <pc:docMk/>
            <pc:sldMk cId="1336582735" sldId="346"/>
            <ac:spMk id="2" creationId="{A8A8850C-C3AD-5993-00C3-4D12B6A1194D}"/>
          </ac:spMkLst>
        </pc:spChg>
        <pc:spChg chg="del mod">
          <ac:chgData name="Thomas Stensitzki" userId="75cafe6b-2f2a-469b-85c4-eec3b9c972ba" providerId="ADAL" clId="{87C52934-9D1F-4A55-8B74-95F1C1650845}" dt="2023-05-11T08:04:04.147" v="825" actId="478"/>
          <ac:spMkLst>
            <pc:docMk/>
            <pc:sldMk cId="1336582735" sldId="346"/>
            <ac:spMk id="3" creationId="{F2300DD4-CAF1-07AB-2DA3-7EEA3151D6B3}"/>
          </ac:spMkLst>
        </pc:spChg>
        <pc:graphicFrameChg chg="add mod modGraphic">
          <ac:chgData name="Thomas Stensitzki" userId="75cafe6b-2f2a-469b-85c4-eec3b9c972ba" providerId="ADAL" clId="{87C52934-9D1F-4A55-8B74-95F1C1650845}" dt="2023-05-11T08:14:04.497" v="884" actId="13926"/>
          <ac:graphicFrameMkLst>
            <pc:docMk/>
            <pc:sldMk cId="1336582735" sldId="346"/>
            <ac:graphicFrameMk id="4" creationId="{5E3BE2B0-1504-CADC-0FE2-F173071CEFCB}"/>
          </ac:graphicFrameMkLst>
        </pc:graphicFrameChg>
        <pc:graphicFrameChg chg="del">
          <ac:chgData name="Thomas Stensitzki" userId="75cafe6b-2f2a-469b-85c4-eec3b9c972ba" providerId="ADAL" clId="{87C52934-9D1F-4A55-8B74-95F1C1650845}" dt="2023-05-11T08:03:15.075" v="815" actId="478"/>
          <ac:graphicFrameMkLst>
            <pc:docMk/>
            <pc:sldMk cId="1336582735" sldId="346"/>
            <ac:graphicFrameMk id="5" creationId="{B18E5043-2990-DBA4-4BD5-ECB74B18B475}"/>
          </ac:graphicFrameMkLst>
        </pc:graphicFrameChg>
      </pc:sldChg>
    </pc:docChg>
  </pc:docChgLst>
  <pc:docChgLst>
    <pc:chgData name="Thomas Stensitzki" userId="75cafe6b-2f2a-469b-85c4-eec3b9c972ba" providerId="ADAL" clId="{64985B84-8086-4380-AA00-C9A7C4488E45}"/>
    <pc:docChg chg="addSld delSld modSld modSection">
      <pc:chgData name="Thomas Stensitzki" userId="75cafe6b-2f2a-469b-85c4-eec3b9c972ba" providerId="ADAL" clId="{64985B84-8086-4380-AA00-C9A7C4488E45}" dt="2022-06-30T10:54:02.189" v="576" actId="20577"/>
      <pc:docMkLst>
        <pc:docMk/>
      </pc:docMkLst>
      <pc:sldChg chg="modSp mod modAnim">
        <pc:chgData name="Thomas Stensitzki" userId="75cafe6b-2f2a-469b-85c4-eec3b9c972ba" providerId="ADAL" clId="{64985B84-8086-4380-AA00-C9A7C4488E45}" dt="2022-06-30T10:50:35.125" v="547" actId="20577"/>
        <pc:sldMkLst>
          <pc:docMk/>
          <pc:sldMk cId="3683526589" sldId="289"/>
        </pc:sldMkLst>
        <pc:spChg chg="mod">
          <ac:chgData name="Thomas Stensitzki" userId="75cafe6b-2f2a-469b-85c4-eec3b9c972ba" providerId="ADAL" clId="{64985B84-8086-4380-AA00-C9A7C4488E45}" dt="2022-06-30T10:49:05.131" v="461" actId="6549"/>
          <ac:spMkLst>
            <pc:docMk/>
            <pc:sldMk cId="3683526589" sldId="289"/>
            <ac:spMk id="4" creationId="{3B0F36BD-82D1-4B5F-9500-391DE0918C8C}"/>
          </ac:spMkLst>
        </pc:spChg>
        <pc:spChg chg="mod">
          <ac:chgData name="Thomas Stensitzki" userId="75cafe6b-2f2a-469b-85c4-eec3b9c972ba" providerId="ADAL" clId="{64985B84-8086-4380-AA00-C9A7C4488E45}" dt="2022-06-30T10:50:35.125" v="547" actId="20577"/>
          <ac:spMkLst>
            <pc:docMk/>
            <pc:sldMk cId="3683526589" sldId="289"/>
            <ac:spMk id="5" creationId="{33FEEF1C-5D0F-4F05-8367-A0031B650FDD}"/>
          </ac:spMkLst>
        </pc:spChg>
      </pc:sldChg>
      <pc:sldChg chg="modSp mod">
        <pc:chgData name="Thomas Stensitzki" userId="75cafe6b-2f2a-469b-85c4-eec3b9c972ba" providerId="ADAL" clId="{64985B84-8086-4380-AA00-C9A7C4488E45}" dt="2022-05-30T20:41:38.545" v="53" actId="20577"/>
        <pc:sldMkLst>
          <pc:docMk/>
          <pc:sldMk cId="149670013" sldId="290"/>
        </pc:sldMkLst>
        <pc:spChg chg="mod">
          <ac:chgData name="Thomas Stensitzki" userId="75cafe6b-2f2a-469b-85c4-eec3b9c972ba" providerId="ADAL" clId="{64985B84-8086-4380-AA00-C9A7C4488E45}" dt="2022-05-30T20:41:38.545" v="53" actId="20577"/>
          <ac:spMkLst>
            <pc:docMk/>
            <pc:sldMk cId="149670013" sldId="290"/>
            <ac:spMk id="5" creationId="{D0C5CA75-F50B-4E59-BA26-D97E0360F1CB}"/>
          </ac:spMkLst>
        </pc:spChg>
      </pc:sldChg>
      <pc:sldChg chg="del">
        <pc:chgData name="Thomas Stensitzki" userId="75cafe6b-2f2a-469b-85c4-eec3b9c972ba" providerId="ADAL" clId="{64985B84-8086-4380-AA00-C9A7C4488E45}" dt="2022-05-30T20:41:52.609" v="55" actId="47"/>
        <pc:sldMkLst>
          <pc:docMk/>
          <pc:sldMk cId="366543129" sldId="291"/>
        </pc:sldMkLst>
      </pc:sldChg>
      <pc:sldChg chg="modSp add mod">
        <pc:chgData name="Thomas Stensitzki" userId="75cafe6b-2f2a-469b-85c4-eec3b9c972ba" providerId="ADAL" clId="{64985B84-8086-4380-AA00-C9A7C4488E45}" dt="2022-06-30T10:54:02.189" v="576" actId="20577"/>
        <pc:sldMkLst>
          <pc:docMk/>
          <pc:sldMk cId="4214215303" sldId="291"/>
        </pc:sldMkLst>
        <pc:spChg chg="mod">
          <ac:chgData name="Thomas Stensitzki" userId="75cafe6b-2f2a-469b-85c4-eec3b9c972ba" providerId="ADAL" clId="{64985B84-8086-4380-AA00-C9A7C4488E45}" dt="2022-06-30T10:54:02.189" v="576" actId="20577"/>
          <ac:spMkLst>
            <pc:docMk/>
            <pc:sldMk cId="4214215303" sldId="291"/>
            <ac:spMk id="4" creationId="{3B0F36BD-82D1-4B5F-9500-391DE0918C8C}"/>
          </ac:spMkLst>
        </pc:spChg>
      </pc:sldChg>
      <pc:sldChg chg="del">
        <pc:chgData name="Thomas Stensitzki" userId="75cafe6b-2f2a-469b-85c4-eec3b9c972ba" providerId="ADAL" clId="{64985B84-8086-4380-AA00-C9A7C4488E45}" dt="2022-05-30T20:41:52.609" v="55" actId="47"/>
        <pc:sldMkLst>
          <pc:docMk/>
          <pc:sldMk cId="4227882706" sldId="292"/>
        </pc:sldMkLst>
      </pc:sldChg>
      <pc:sldChg chg="del">
        <pc:chgData name="Thomas Stensitzki" userId="75cafe6b-2f2a-469b-85c4-eec3b9c972ba" providerId="ADAL" clId="{64985B84-8086-4380-AA00-C9A7C4488E45}" dt="2022-05-30T20:41:47.181" v="54" actId="47"/>
        <pc:sldMkLst>
          <pc:docMk/>
          <pc:sldMk cId="835889398" sldId="293"/>
        </pc:sldMkLst>
      </pc:sldChg>
      <pc:sldChg chg="del">
        <pc:chgData name="Thomas Stensitzki" userId="75cafe6b-2f2a-469b-85c4-eec3b9c972ba" providerId="ADAL" clId="{64985B84-8086-4380-AA00-C9A7C4488E45}" dt="2022-05-30T20:41:47.181" v="54" actId="47"/>
        <pc:sldMkLst>
          <pc:docMk/>
          <pc:sldMk cId="404821504" sldId="294"/>
        </pc:sldMkLst>
      </pc:sldChg>
      <pc:sldChg chg="del">
        <pc:chgData name="Thomas Stensitzki" userId="75cafe6b-2f2a-469b-85c4-eec3b9c972ba" providerId="ADAL" clId="{64985B84-8086-4380-AA00-C9A7C4488E45}" dt="2022-05-30T20:41:47.181" v="54" actId="47"/>
        <pc:sldMkLst>
          <pc:docMk/>
          <pc:sldMk cId="3977601806" sldId="295"/>
        </pc:sldMkLst>
      </pc:sldChg>
    </pc:docChg>
  </pc:docChgLst>
  <pc:docChgLst>
    <pc:chgData name="Thomas Stensitzki" userId="75cafe6b-2f2a-469b-85c4-eec3b9c972ba" providerId="ADAL" clId="{47456883-2CF3-4B1D-85BD-07A909E92ABB}"/>
    <pc:docChg chg="custSel addSld modSld">
      <pc:chgData name="Thomas Stensitzki" userId="75cafe6b-2f2a-469b-85c4-eec3b9c972ba" providerId="ADAL" clId="{47456883-2CF3-4B1D-85BD-07A909E92ABB}" dt="2021-10-31T13:15:37.865" v="72" actId="20577"/>
      <pc:docMkLst>
        <pc:docMk/>
      </pc:docMkLst>
      <pc:sldChg chg="modSp add mod">
        <pc:chgData name="Thomas Stensitzki" userId="75cafe6b-2f2a-469b-85c4-eec3b9c972ba" providerId="ADAL" clId="{47456883-2CF3-4B1D-85BD-07A909E92ABB}" dt="2021-10-31T13:15:37.865" v="72" actId="20577"/>
        <pc:sldMkLst>
          <pc:docMk/>
          <pc:sldMk cId="2556869249" sldId="289"/>
        </pc:sldMkLst>
        <pc:spChg chg="mod">
          <ac:chgData name="Thomas Stensitzki" userId="75cafe6b-2f2a-469b-85c4-eec3b9c972ba" providerId="ADAL" clId="{47456883-2CF3-4B1D-85BD-07A909E92ABB}" dt="2021-10-31T13:15:37.865" v="72" actId="20577"/>
          <ac:spMkLst>
            <pc:docMk/>
            <pc:sldMk cId="2556869249" sldId="289"/>
            <ac:spMk id="5" creationId="{84334C56-E21D-4F65-A8F6-7020F9AB8298}"/>
          </ac:spMkLst>
        </pc:spChg>
      </pc:sldChg>
    </pc:docChg>
  </pc:docChgLst>
  <pc:docChgLst>
    <pc:chgData name="Thomas Stensitzki" userId="75cafe6b-2f2a-469b-85c4-eec3b9c972ba" providerId="ADAL" clId="{36364276-B193-4BDE-8106-9329974BF52B}"/>
    <pc:docChg chg="undo custSel addSld delSld modSld sldOrd modSection">
      <pc:chgData name="Thomas Stensitzki" userId="75cafe6b-2f2a-469b-85c4-eec3b9c972ba" providerId="ADAL" clId="{36364276-B193-4BDE-8106-9329974BF52B}" dt="2021-03-15T15:11:24.012" v="2653" actId="20577"/>
      <pc:docMkLst>
        <pc:docMk/>
      </pc:docMkLst>
      <pc:sldChg chg="modSp mod modTransition">
        <pc:chgData name="Thomas Stensitzki" userId="75cafe6b-2f2a-469b-85c4-eec3b9c972ba" providerId="ADAL" clId="{36364276-B193-4BDE-8106-9329974BF52B}" dt="2021-03-13T12:10:29.525" v="2149"/>
        <pc:sldMkLst>
          <pc:docMk/>
          <pc:sldMk cId="1331178014" sldId="256"/>
        </pc:sldMkLst>
        <pc:spChg chg="mod">
          <ac:chgData name="Thomas Stensitzki" userId="75cafe6b-2f2a-469b-85c4-eec3b9c972ba" providerId="ADAL" clId="{36364276-B193-4BDE-8106-9329974BF52B}" dt="2021-03-13T11:12:16.241" v="9" actId="20577"/>
          <ac:spMkLst>
            <pc:docMk/>
            <pc:sldMk cId="1331178014" sldId="256"/>
            <ac:spMk id="2" creationId="{E137B2CB-D047-404D-B8CC-C662AA78F69E}"/>
          </ac:spMkLst>
        </pc:spChg>
      </pc:sldChg>
      <pc:sldChg chg="modTransition">
        <pc:chgData name="Thomas Stensitzki" userId="75cafe6b-2f2a-469b-85c4-eec3b9c972ba" providerId="ADAL" clId="{36364276-B193-4BDE-8106-9329974BF52B}" dt="2021-03-13T12:10:29.525" v="2149"/>
        <pc:sldMkLst>
          <pc:docMk/>
          <pc:sldMk cId="2213403937" sldId="259"/>
        </pc:sldMkLst>
      </pc:sldChg>
      <pc:sldChg chg="modTransition">
        <pc:chgData name="Thomas Stensitzki" userId="75cafe6b-2f2a-469b-85c4-eec3b9c972ba" providerId="ADAL" clId="{36364276-B193-4BDE-8106-9329974BF52B}" dt="2021-03-13T12:10:29.525" v="2149"/>
        <pc:sldMkLst>
          <pc:docMk/>
          <pc:sldMk cId="1916615734" sldId="274"/>
        </pc:sldMkLst>
      </pc:sldChg>
      <pc:sldChg chg="modSp mod modTransition modAnim modNotesTx">
        <pc:chgData name="Thomas Stensitzki" userId="75cafe6b-2f2a-469b-85c4-eec3b9c972ba" providerId="ADAL" clId="{36364276-B193-4BDE-8106-9329974BF52B}" dt="2021-03-15T15:11:24.012" v="2653" actId="20577"/>
        <pc:sldMkLst>
          <pc:docMk/>
          <pc:sldMk cId="3800306062" sldId="275"/>
        </pc:sldMkLst>
        <pc:spChg chg="mod">
          <ac:chgData name="Thomas Stensitzki" userId="75cafe6b-2f2a-469b-85c4-eec3b9c972ba" providerId="ADAL" clId="{36364276-B193-4BDE-8106-9329974BF52B}" dt="2021-03-15T15:11:24.012" v="2653" actId="20577"/>
          <ac:spMkLst>
            <pc:docMk/>
            <pc:sldMk cId="3800306062" sldId="275"/>
            <ac:spMk id="5" creationId="{DCF7A5B9-E28B-42E4-9DC3-95FA062D9B40}"/>
          </ac:spMkLst>
        </pc:spChg>
      </pc:sldChg>
      <pc:sldChg chg="modSp mod modTransition">
        <pc:chgData name="Thomas Stensitzki" userId="75cafe6b-2f2a-469b-85c4-eec3b9c972ba" providerId="ADAL" clId="{36364276-B193-4BDE-8106-9329974BF52B}" dt="2021-03-13T12:13:25.043" v="2176"/>
        <pc:sldMkLst>
          <pc:docMk/>
          <pc:sldMk cId="3610249691" sldId="276"/>
        </pc:sldMkLst>
        <pc:spChg chg="mod">
          <ac:chgData name="Thomas Stensitzki" userId="75cafe6b-2f2a-469b-85c4-eec3b9c972ba" providerId="ADAL" clId="{36364276-B193-4BDE-8106-9329974BF52B}" dt="2021-03-13T12:13:25.043" v="2176"/>
          <ac:spMkLst>
            <pc:docMk/>
            <pc:sldMk cId="3610249691" sldId="276"/>
            <ac:spMk id="2" creationId="{5C28BF81-223D-47D6-9FD5-83065BC1CACC}"/>
          </ac:spMkLst>
        </pc:spChg>
      </pc:sldChg>
      <pc:sldChg chg="delSp modSp mod ord modTransition">
        <pc:chgData name="Thomas Stensitzki" userId="75cafe6b-2f2a-469b-85c4-eec3b9c972ba" providerId="ADAL" clId="{36364276-B193-4BDE-8106-9329974BF52B}" dt="2021-03-13T12:10:29.525" v="2149"/>
        <pc:sldMkLst>
          <pc:docMk/>
          <pc:sldMk cId="519679539" sldId="277"/>
        </pc:sldMkLst>
        <pc:spChg chg="mod">
          <ac:chgData name="Thomas Stensitzki" userId="75cafe6b-2f2a-469b-85c4-eec3b9c972ba" providerId="ADAL" clId="{36364276-B193-4BDE-8106-9329974BF52B}" dt="2021-03-13T11:34:23.377" v="872"/>
          <ac:spMkLst>
            <pc:docMk/>
            <pc:sldMk cId="519679539" sldId="277"/>
            <ac:spMk id="2" creationId="{7002B09A-399A-4572-8891-801162E5B6FC}"/>
          </ac:spMkLst>
        </pc:spChg>
        <pc:spChg chg="mod">
          <ac:chgData name="Thomas Stensitzki" userId="75cafe6b-2f2a-469b-85c4-eec3b9c972ba" providerId="ADAL" clId="{36364276-B193-4BDE-8106-9329974BF52B}" dt="2021-03-13T11:36:11.277" v="1148" actId="20577"/>
          <ac:spMkLst>
            <pc:docMk/>
            <pc:sldMk cId="519679539" sldId="277"/>
            <ac:spMk id="3" creationId="{16A8AB05-CA36-44DA-926A-54FE116E7F9A}"/>
          </ac:spMkLst>
        </pc:spChg>
        <pc:picChg chg="del mod">
          <ac:chgData name="Thomas Stensitzki" userId="75cafe6b-2f2a-469b-85c4-eec3b9c972ba" providerId="ADAL" clId="{36364276-B193-4BDE-8106-9329974BF52B}" dt="2021-03-13T11:34:14.750" v="871" actId="478"/>
          <ac:picMkLst>
            <pc:docMk/>
            <pc:sldMk cId="519679539" sldId="277"/>
            <ac:picMk id="5" creationId="{21DCC207-F69D-4AAA-B88B-B8A6215C382A}"/>
          </ac:picMkLst>
        </pc:picChg>
      </pc:sldChg>
      <pc:sldChg chg="mod modTransition modShow">
        <pc:chgData name="Thomas Stensitzki" userId="75cafe6b-2f2a-469b-85c4-eec3b9c972ba" providerId="ADAL" clId="{36364276-B193-4BDE-8106-9329974BF52B}" dt="2021-03-13T12:10:29.525" v="2149"/>
        <pc:sldMkLst>
          <pc:docMk/>
          <pc:sldMk cId="187086544" sldId="278"/>
        </pc:sldMkLst>
      </pc:sldChg>
      <pc:sldChg chg="modSp mod modTransition">
        <pc:chgData name="Thomas Stensitzki" userId="75cafe6b-2f2a-469b-85c4-eec3b9c972ba" providerId="ADAL" clId="{36364276-B193-4BDE-8106-9329974BF52B}" dt="2021-03-13T12:10:29.525" v="2149"/>
        <pc:sldMkLst>
          <pc:docMk/>
          <pc:sldMk cId="3258532207" sldId="279"/>
        </pc:sldMkLst>
        <pc:spChg chg="mod">
          <ac:chgData name="Thomas Stensitzki" userId="75cafe6b-2f2a-469b-85c4-eec3b9c972ba" providerId="ADAL" clId="{36364276-B193-4BDE-8106-9329974BF52B}" dt="2021-03-13T11:52:59.821" v="1842"/>
          <ac:spMkLst>
            <pc:docMk/>
            <pc:sldMk cId="3258532207" sldId="279"/>
            <ac:spMk id="2" creationId="{41F61CB0-B758-4282-9394-58F9CDD39673}"/>
          </ac:spMkLst>
        </pc:spChg>
        <pc:spChg chg="mod">
          <ac:chgData name="Thomas Stensitzki" userId="75cafe6b-2f2a-469b-85c4-eec3b9c972ba" providerId="ADAL" clId="{36364276-B193-4BDE-8106-9329974BF52B}" dt="2021-03-13T11:52:44.693" v="1841" actId="20577"/>
          <ac:spMkLst>
            <pc:docMk/>
            <pc:sldMk cId="3258532207" sldId="279"/>
            <ac:spMk id="3" creationId="{3ADB07E8-4544-42E1-AC6B-54DFC8BAEAA1}"/>
          </ac:spMkLst>
        </pc:spChg>
        <pc:picChg chg="mod">
          <ac:chgData name="Thomas Stensitzki" userId="75cafe6b-2f2a-469b-85c4-eec3b9c972ba" providerId="ADAL" clId="{36364276-B193-4BDE-8106-9329974BF52B}" dt="2021-03-13T11:51:30.181" v="1810" actId="14100"/>
          <ac:picMkLst>
            <pc:docMk/>
            <pc:sldMk cId="3258532207" sldId="279"/>
            <ac:picMk id="5" creationId="{D5B13E81-3E98-47EF-AA3D-40A256E80E4D}"/>
          </ac:picMkLst>
        </pc:picChg>
      </pc:sldChg>
      <pc:sldChg chg="modSp mod modTransition">
        <pc:chgData name="Thomas Stensitzki" userId="75cafe6b-2f2a-469b-85c4-eec3b9c972ba" providerId="ADAL" clId="{36364276-B193-4BDE-8106-9329974BF52B}" dt="2021-03-13T12:17:25.502" v="2587" actId="20577"/>
        <pc:sldMkLst>
          <pc:docMk/>
          <pc:sldMk cId="2469256109" sldId="280"/>
        </pc:sldMkLst>
        <pc:spChg chg="mod">
          <ac:chgData name="Thomas Stensitzki" userId="75cafe6b-2f2a-469b-85c4-eec3b9c972ba" providerId="ADAL" clId="{36364276-B193-4BDE-8106-9329974BF52B}" dt="2021-03-13T12:13:48.938" v="2177"/>
          <ac:spMkLst>
            <pc:docMk/>
            <pc:sldMk cId="2469256109" sldId="280"/>
            <ac:spMk id="2" creationId="{EE280C37-2F1B-4E52-A77D-9E35A54D9B59}"/>
          </ac:spMkLst>
        </pc:spChg>
        <pc:spChg chg="mod">
          <ac:chgData name="Thomas Stensitzki" userId="75cafe6b-2f2a-469b-85c4-eec3b9c972ba" providerId="ADAL" clId="{36364276-B193-4BDE-8106-9329974BF52B}" dt="2021-03-13T12:17:25.502" v="2587" actId="20577"/>
          <ac:spMkLst>
            <pc:docMk/>
            <pc:sldMk cId="2469256109" sldId="280"/>
            <ac:spMk id="3" creationId="{8A39B34D-856A-478D-AEEF-972A9332C426}"/>
          </ac:spMkLst>
        </pc:spChg>
      </pc:sldChg>
      <pc:sldChg chg="addSp delSp modSp add mod modTransition modAnim modNotesTx">
        <pc:chgData name="Thomas Stensitzki" userId="75cafe6b-2f2a-469b-85c4-eec3b9c972ba" providerId="ADAL" clId="{36364276-B193-4BDE-8106-9329974BF52B}" dt="2021-03-13T12:12:58.309" v="2175"/>
        <pc:sldMkLst>
          <pc:docMk/>
          <pc:sldMk cId="3997588830" sldId="281"/>
        </pc:sldMkLst>
        <pc:spChg chg="mod">
          <ac:chgData name="Thomas Stensitzki" userId="75cafe6b-2f2a-469b-85c4-eec3b9c972ba" providerId="ADAL" clId="{36364276-B193-4BDE-8106-9329974BF52B}" dt="2021-03-13T12:12:28.614" v="2173" actId="20577"/>
          <ac:spMkLst>
            <pc:docMk/>
            <pc:sldMk cId="3997588830" sldId="281"/>
            <ac:spMk id="5" creationId="{DCF7A5B9-E28B-42E4-9DC3-95FA062D9B40}"/>
          </ac:spMkLst>
        </pc:spChg>
        <pc:spChg chg="add del">
          <ac:chgData name="Thomas Stensitzki" userId="75cafe6b-2f2a-469b-85c4-eec3b9c972ba" providerId="ADAL" clId="{36364276-B193-4BDE-8106-9329974BF52B}" dt="2021-03-13T11:30:37.918" v="574" actId="478"/>
          <ac:spMkLst>
            <pc:docMk/>
            <pc:sldMk cId="3997588830" sldId="281"/>
            <ac:spMk id="6" creationId="{ADC4586B-82B9-42D1-AECA-3D0BF32B05AD}"/>
          </ac:spMkLst>
        </pc:spChg>
      </pc:sldChg>
      <pc:sldChg chg="delSp modSp add mod modTransition modClrScheme chgLayout">
        <pc:chgData name="Thomas Stensitzki" userId="75cafe6b-2f2a-469b-85c4-eec3b9c972ba" providerId="ADAL" clId="{36364276-B193-4BDE-8106-9329974BF52B}" dt="2021-03-13T12:10:29.525" v="2149"/>
        <pc:sldMkLst>
          <pc:docMk/>
          <pc:sldMk cId="2784494592" sldId="282"/>
        </pc:sldMkLst>
        <pc:spChg chg="del mod ord">
          <ac:chgData name="Thomas Stensitzki" userId="75cafe6b-2f2a-469b-85c4-eec3b9c972ba" providerId="ADAL" clId="{36364276-B193-4BDE-8106-9329974BF52B}" dt="2021-03-13T11:37:29.474" v="1156" actId="478"/>
          <ac:spMkLst>
            <pc:docMk/>
            <pc:sldMk cId="2784494592" sldId="282"/>
            <ac:spMk id="2" creationId="{7002B09A-399A-4572-8891-801162E5B6FC}"/>
          </ac:spMkLst>
        </pc:spChg>
        <pc:spChg chg="del mod ord">
          <ac:chgData name="Thomas Stensitzki" userId="75cafe6b-2f2a-469b-85c4-eec3b9c972ba" providerId="ADAL" clId="{36364276-B193-4BDE-8106-9329974BF52B}" dt="2021-03-13T11:37:31.759" v="1157" actId="478"/>
          <ac:spMkLst>
            <pc:docMk/>
            <pc:sldMk cId="2784494592" sldId="282"/>
            <ac:spMk id="3" creationId="{16A8AB05-CA36-44DA-926A-54FE116E7F9A}"/>
          </ac:spMkLst>
        </pc:spChg>
        <pc:picChg chg="mod">
          <ac:chgData name="Thomas Stensitzki" userId="75cafe6b-2f2a-469b-85c4-eec3b9c972ba" providerId="ADAL" clId="{36364276-B193-4BDE-8106-9329974BF52B}" dt="2021-03-13T11:37:41.070" v="1158" actId="1076"/>
          <ac:picMkLst>
            <pc:docMk/>
            <pc:sldMk cId="2784494592" sldId="282"/>
            <ac:picMk id="5" creationId="{21DCC207-F69D-4AAA-B88B-B8A6215C382A}"/>
          </ac:picMkLst>
        </pc:picChg>
      </pc:sldChg>
      <pc:sldChg chg="modSp add mod modTransition modAnim modNotesTx">
        <pc:chgData name="Thomas Stensitzki" userId="75cafe6b-2f2a-469b-85c4-eec3b9c972ba" providerId="ADAL" clId="{36364276-B193-4BDE-8106-9329974BF52B}" dt="2021-03-13T12:11:21.357" v="2154"/>
        <pc:sldMkLst>
          <pc:docMk/>
          <pc:sldMk cId="2671394678" sldId="283"/>
        </pc:sldMkLst>
        <pc:spChg chg="mod">
          <ac:chgData name="Thomas Stensitzki" userId="75cafe6b-2f2a-469b-85c4-eec3b9c972ba" providerId="ADAL" clId="{36364276-B193-4BDE-8106-9329974BF52B}" dt="2021-03-13T11:49:44.265" v="1804" actId="27636"/>
          <ac:spMkLst>
            <pc:docMk/>
            <pc:sldMk cId="2671394678" sldId="283"/>
            <ac:spMk id="5" creationId="{DCF7A5B9-E28B-42E4-9DC3-95FA062D9B40}"/>
          </ac:spMkLst>
        </pc:spChg>
      </pc:sldChg>
      <pc:sldChg chg="modSp add mod ord">
        <pc:chgData name="Thomas Stensitzki" userId="75cafe6b-2f2a-469b-85c4-eec3b9c972ba" providerId="ADAL" clId="{36364276-B193-4BDE-8106-9329974BF52B}" dt="2021-03-15T15:10:23.842" v="2597" actId="6549"/>
        <pc:sldMkLst>
          <pc:docMk/>
          <pc:sldMk cId="259590582" sldId="284"/>
        </pc:sldMkLst>
        <pc:spChg chg="mod">
          <ac:chgData name="Thomas Stensitzki" userId="75cafe6b-2f2a-469b-85c4-eec3b9c972ba" providerId="ADAL" clId="{36364276-B193-4BDE-8106-9329974BF52B}" dt="2021-03-15T15:10:20.713" v="2596" actId="20577"/>
          <ac:spMkLst>
            <pc:docMk/>
            <pc:sldMk cId="259590582" sldId="284"/>
            <ac:spMk id="4" creationId="{70E8EAA7-76C4-4D2B-81CE-57CA4627D39E}"/>
          </ac:spMkLst>
        </pc:spChg>
        <pc:spChg chg="mod">
          <ac:chgData name="Thomas Stensitzki" userId="75cafe6b-2f2a-469b-85c4-eec3b9c972ba" providerId="ADAL" clId="{36364276-B193-4BDE-8106-9329974BF52B}" dt="2021-03-15T15:10:23.842" v="2597" actId="6549"/>
          <ac:spMkLst>
            <pc:docMk/>
            <pc:sldMk cId="259590582" sldId="284"/>
            <ac:spMk id="5" creationId="{94140262-613E-47E0-8110-F2C2EDE2EFD9}"/>
          </ac:spMkLst>
        </pc:spChg>
      </pc:sldChg>
      <pc:sldChg chg="modSp add del mod">
        <pc:chgData name="Thomas Stensitzki" userId="75cafe6b-2f2a-469b-85c4-eec3b9c972ba" providerId="ADAL" clId="{36364276-B193-4BDE-8106-9329974BF52B}" dt="2021-03-13T11:49:48.611" v="1805" actId="2696"/>
        <pc:sldMkLst>
          <pc:docMk/>
          <pc:sldMk cId="2325811578" sldId="284"/>
        </pc:sldMkLst>
        <pc:spChg chg="mod">
          <ac:chgData name="Thomas Stensitzki" userId="75cafe6b-2f2a-469b-85c4-eec3b9c972ba" providerId="ADAL" clId="{36364276-B193-4BDE-8106-9329974BF52B}" dt="2021-03-13T11:49:34.376" v="1799" actId="21"/>
          <ac:spMkLst>
            <pc:docMk/>
            <pc:sldMk cId="2325811578" sldId="284"/>
            <ac:spMk id="5" creationId="{DCF7A5B9-E28B-42E4-9DC3-95FA062D9B40}"/>
          </ac:spMkLst>
        </pc:spChg>
      </pc:sldChg>
    </pc:docChg>
  </pc:docChgLst>
  <pc:docChgLst>
    <pc:chgData name="Thomas Stensitzki" userId="75cafe6b-2f2a-469b-85c4-eec3b9c972ba" providerId="ADAL" clId="{55B11CFD-E628-4167-8F5B-F4D6690C3580}"/>
    <pc:docChg chg="custSel addSld modSld modSection">
      <pc:chgData name="Thomas Stensitzki" userId="75cafe6b-2f2a-469b-85c4-eec3b9c972ba" providerId="ADAL" clId="{55B11CFD-E628-4167-8F5B-F4D6690C3580}" dt="2021-08-29T12:05:42.064" v="397" actId="14826"/>
      <pc:docMkLst>
        <pc:docMk/>
      </pc:docMkLst>
      <pc:sldChg chg="modSp">
        <pc:chgData name="Thomas Stensitzki" userId="75cafe6b-2f2a-469b-85c4-eec3b9c972ba" providerId="ADAL" clId="{55B11CFD-E628-4167-8F5B-F4D6690C3580}" dt="2021-08-29T12:05:42.064" v="397" actId="14826"/>
        <pc:sldMkLst>
          <pc:docMk/>
          <pc:sldMk cId="2213403937" sldId="259"/>
        </pc:sldMkLst>
        <pc:picChg chg="mod">
          <ac:chgData name="Thomas Stensitzki" userId="75cafe6b-2f2a-469b-85c4-eec3b9c972ba" providerId="ADAL" clId="{55B11CFD-E628-4167-8F5B-F4D6690C3580}" dt="2021-08-29T12:05:42.064" v="397" actId="14826"/>
          <ac:picMkLst>
            <pc:docMk/>
            <pc:sldMk cId="2213403937" sldId="259"/>
            <ac:picMk id="9" creationId="{283AE58E-FC69-459F-B336-2D53A0AD784F}"/>
          </ac:picMkLst>
        </pc:picChg>
      </pc:sldChg>
      <pc:sldChg chg="modSp mod modAnim">
        <pc:chgData name="Thomas Stensitzki" userId="75cafe6b-2f2a-469b-85c4-eec3b9c972ba" providerId="ADAL" clId="{55B11CFD-E628-4167-8F5B-F4D6690C3580}" dt="2021-08-29T12:04:51.518" v="396"/>
        <pc:sldMkLst>
          <pc:docMk/>
          <pc:sldMk cId="3443800143" sldId="285"/>
        </pc:sldMkLst>
        <pc:spChg chg="mod">
          <ac:chgData name="Thomas Stensitzki" userId="75cafe6b-2f2a-469b-85c4-eec3b9c972ba" providerId="ADAL" clId="{55B11CFD-E628-4167-8F5B-F4D6690C3580}" dt="2021-08-29T11:58:43.483" v="21" actId="20577"/>
          <ac:spMkLst>
            <pc:docMk/>
            <pc:sldMk cId="3443800143" sldId="285"/>
            <ac:spMk id="5" creationId="{DCF7A5B9-E28B-42E4-9DC3-95FA062D9B40}"/>
          </ac:spMkLst>
        </pc:spChg>
        <pc:picChg chg="mod">
          <ac:chgData name="Thomas Stensitzki" userId="75cafe6b-2f2a-469b-85c4-eec3b9c972ba" providerId="ADAL" clId="{55B11CFD-E628-4167-8F5B-F4D6690C3580}" dt="2021-08-29T11:58:27.115" v="3" actId="1076"/>
          <ac:picMkLst>
            <pc:docMk/>
            <pc:sldMk cId="3443800143" sldId="285"/>
            <ac:picMk id="6" creationId="{7D64A7E2-EEA2-4804-8944-D345732DD306}"/>
          </ac:picMkLst>
        </pc:picChg>
      </pc:sldChg>
      <pc:sldChg chg="modSp new mod">
        <pc:chgData name="Thomas Stensitzki" userId="75cafe6b-2f2a-469b-85c4-eec3b9c972ba" providerId="ADAL" clId="{55B11CFD-E628-4167-8F5B-F4D6690C3580}" dt="2021-08-29T12:03:55.821" v="395" actId="6549"/>
        <pc:sldMkLst>
          <pc:docMk/>
          <pc:sldMk cId="1080893028" sldId="289"/>
        </pc:sldMkLst>
        <pc:spChg chg="mod">
          <ac:chgData name="Thomas Stensitzki" userId="75cafe6b-2f2a-469b-85c4-eec3b9c972ba" providerId="ADAL" clId="{55B11CFD-E628-4167-8F5B-F4D6690C3580}" dt="2021-08-29T11:59:07.672" v="50" actId="20577"/>
          <ac:spMkLst>
            <pc:docMk/>
            <pc:sldMk cId="1080893028" sldId="289"/>
            <ac:spMk id="2" creationId="{0CE3DB74-D1E5-477D-9083-06856EFA1162}"/>
          </ac:spMkLst>
        </pc:spChg>
        <pc:spChg chg="mod">
          <ac:chgData name="Thomas Stensitzki" userId="75cafe6b-2f2a-469b-85c4-eec3b9c972ba" providerId="ADAL" clId="{55B11CFD-E628-4167-8F5B-F4D6690C3580}" dt="2021-08-29T12:03:55.821" v="395" actId="6549"/>
          <ac:spMkLst>
            <pc:docMk/>
            <pc:sldMk cId="1080893028" sldId="289"/>
            <ac:spMk id="3" creationId="{4AE8A943-1800-4210-AE46-A7F73D58C6D4}"/>
          </ac:spMkLst>
        </pc:spChg>
      </pc:sldChg>
    </pc:docChg>
  </pc:docChgLst>
  <pc:docChgLst>
    <pc:chgData name="Thomas Stensitzki" userId="75cafe6b-2f2a-469b-85c4-eec3b9c972ba" providerId="ADAL" clId="{C812352C-1FBF-4B94-8A03-7091541BB790}"/>
    <pc:docChg chg="custSel addSld modSld sldOrd modMainMaster modSection">
      <pc:chgData name="Thomas Stensitzki" userId="75cafe6b-2f2a-469b-85c4-eec3b9c972ba" providerId="ADAL" clId="{C812352C-1FBF-4B94-8A03-7091541BB790}" dt="2021-09-25T09:33:12.092" v="57" actId="20577"/>
      <pc:docMkLst>
        <pc:docMk/>
      </pc:docMkLst>
      <pc:sldChg chg="modAnim">
        <pc:chgData name="Thomas Stensitzki" userId="75cafe6b-2f2a-469b-85c4-eec3b9c972ba" providerId="ADAL" clId="{C812352C-1FBF-4B94-8A03-7091541BB790}" dt="2021-09-18T11:30:35.462" v="54"/>
        <pc:sldMkLst>
          <pc:docMk/>
          <pc:sldMk cId="1331178014" sldId="256"/>
        </pc:sldMkLst>
      </pc:sldChg>
      <pc:sldChg chg="mod modShow">
        <pc:chgData name="Thomas Stensitzki" userId="75cafe6b-2f2a-469b-85c4-eec3b9c972ba" providerId="ADAL" clId="{C812352C-1FBF-4B94-8A03-7091541BB790}" dt="2021-09-21T10:33:51.114" v="55" actId="729"/>
        <pc:sldMkLst>
          <pc:docMk/>
          <pc:sldMk cId="1179876429" sldId="284"/>
        </pc:sldMkLst>
      </pc:sldChg>
      <pc:sldChg chg="addSp delSp modSp mod delAnim modAnim">
        <pc:chgData name="Thomas Stensitzki" userId="75cafe6b-2f2a-469b-85c4-eec3b9c972ba" providerId="ADAL" clId="{C812352C-1FBF-4B94-8A03-7091541BB790}" dt="2021-09-18T10:57:19.747" v="25"/>
        <pc:sldMkLst>
          <pc:docMk/>
          <pc:sldMk cId="3443800143" sldId="285"/>
        </pc:sldMkLst>
        <pc:spChg chg="mod">
          <ac:chgData name="Thomas Stensitzki" userId="75cafe6b-2f2a-469b-85c4-eec3b9c972ba" providerId="ADAL" clId="{C812352C-1FBF-4B94-8A03-7091541BB790}" dt="2021-09-18T10:53:39.145" v="18" actId="6549"/>
          <ac:spMkLst>
            <pc:docMk/>
            <pc:sldMk cId="3443800143" sldId="285"/>
            <ac:spMk id="5" creationId="{DCF7A5B9-E28B-42E4-9DC3-95FA062D9B40}"/>
          </ac:spMkLst>
        </pc:spChg>
        <pc:picChg chg="add mod">
          <ac:chgData name="Thomas Stensitzki" userId="75cafe6b-2f2a-469b-85c4-eec3b9c972ba" providerId="ADAL" clId="{C812352C-1FBF-4B94-8A03-7091541BB790}" dt="2021-09-18T10:56:50.974" v="23" actId="1440"/>
          <ac:picMkLst>
            <pc:docMk/>
            <pc:sldMk cId="3443800143" sldId="285"/>
            <ac:picMk id="3" creationId="{BB80F590-8782-42CE-9EDB-FADF5B947771}"/>
          </ac:picMkLst>
        </pc:picChg>
        <pc:picChg chg="del">
          <ac:chgData name="Thomas Stensitzki" userId="75cafe6b-2f2a-469b-85c4-eec3b9c972ba" providerId="ADAL" clId="{C812352C-1FBF-4B94-8A03-7091541BB790}" dt="2021-09-18T10:53:40.567" v="19" actId="478"/>
          <ac:picMkLst>
            <pc:docMk/>
            <pc:sldMk cId="3443800143" sldId="285"/>
            <ac:picMk id="6" creationId="{7D64A7E2-EEA2-4804-8944-D345732DD306}"/>
          </ac:picMkLst>
        </pc:picChg>
      </pc:sldChg>
      <pc:sldChg chg="addSp delSp modSp mod modAnim">
        <pc:chgData name="Thomas Stensitzki" userId="75cafe6b-2f2a-469b-85c4-eec3b9c972ba" providerId="ADAL" clId="{C812352C-1FBF-4B94-8A03-7091541BB790}" dt="2021-09-25T09:33:12.092" v="57" actId="20577"/>
        <pc:sldMkLst>
          <pc:docMk/>
          <pc:sldMk cId="1080893028" sldId="289"/>
        </pc:sldMkLst>
        <pc:spChg chg="mod">
          <ac:chgData name="Thomas Stensitzki" userId="75cafe6b-2f2a-469b-85c4-eec3b9c972ba" providerId="ADAL" clId="{C812352C-1FBF-4B94-8A03-7091541BB790}" dt="2021-09-25T09:33:12.092" v="57" actId="20577"/>
          <ac:spMkLst>
            <pc:docMk/>
            <pc:sldMk cId="1080893028" sldId="289"/>
            <ac:spMk id="3" creationId="{4AE8A943-1800-4210-AE46-A7F73D58C6D4}"/>
          </ac:spMkLst>
        </pc:spChg>
        <pc:picChg chg="add mod modCrop">
          <ac:chgData name="Thomas Stensitzki" userId="75cafe6b-2f2a-469b-85c4-eec3b9c972ba" providerId="ADAL" clId="{C812352C-1FBF-4B94-8A03-7091541BB790}" dt="2021-09-18T10:58:45.149" v="29" actId="18131"/>
          <ac:picMkLst>
            <pc:docMk/>
            <pc:sldMk cId="1080893028" sldId="289"/>
            <ac:picMk id="5" creationId="{84F6C31C-8E3B-47A3-A6EB-0CFA05A145B8}"/>
          </ac:picMkLst>
        </pc:picChg>
        <pc:picChg chg="add del mod modCrop">
          <ac:chgData name="Thomas Stensitzki" userId="75cafe6b-2f2a-469b-85c4-eec3b9c972ba" providerId="ADAL" clId="{C812352C-1FBF-4B94-8A03-7091541BB790}" dt="2021-09-18T10:59:28.214" v="33" actId="478"/>
          <ac:picMkLst>
            <pc:docMk/>
            <pc:sldMk cId="1080893028" sldId="289"/>
            <ac:picMk id="7" creationId="{396C2924-7BD4-41D6-9D59-2C2182600847}"/>
          </ac:picMkLst>
        </pc:picChg>
        <pc:picChg chg="add mod">
          <ac:chgData name="Thomas Stensitzki" userId="75cafe6b-2f2a-469b-85c4-eec3b9c972ba" providerId="ADAL" clId="{C812352C-1FBF-4B94-8A03-7091541BB790}" dt="2021-09-18T11:00:14.481" v="37" actId="1440"/>
          <ac:picMkLst>
            <pc:docMk/>
            <pc:sldMk cId="1080893028" sldId="289"/>
            <ac:picMk id="9" creationId="{8567B92D-D6DB-4280-8A56-44FF3A5DA447}"/>
          </ac:picMkLst>
        </pc:picChg>
      </pc:sldChg>
      <pc:sldChg chg="modSp add mod modAnim">
        <pc:chgData name="Thomas Stensitzki" userId="75cafe6b-2f2a-469b-85c4-eec3b9c972ba" providerId="ADAL" clId="{C812352C-1FBF-4B94-8A03-7091541BB790}" dt="2021-09-18T10:57:28.356" v="26"/>
        <pc:sldMkLst>
          <pc:docMk/>
          <pc:sldMk cId="3081175036" sldId="290"/>
        </pc:sldMkLst>
        <pc:spChg chg="mod">
          <ac:chgData name="Thomas Stensitzki" userId="75cafe6b-2f2a-469b-85c4-eec3b9c972ba" providerId="ADAL" clId="{C812352C-1FBF-4B94-8A03-7091541BB790}" dt="2021-09-18T10:53:28.503" v="16" actId="6549"/>
          <ac:spMkLst>
            <pc:docMk/>
            <pc:sldMk cId="3081175036" sldId="290"/>
            <ac:spMk id="5" creationId="{DCF7A5B9-E28B-42E4-9DC3-95FA062D9B40}"/>
          </ac:spMkLst>
        </pc:spChg>
        <pc:picChg chg="mod">
          <ac:chgData name="Thomas Stensitzki" userId="75cafe6b-2f2a-469b-85c4-eec3b9c972ba" providerId="ADAL" clId="{C812352C-1FBF-4B94-8A03-7091541BB790}" dt="2021-09-18T10:53:33.938" v="17" actId="1076"/>
          <ac:picMkLst>
            <pc:docMk/>
            <pc:sldMk cId="3081175036" sldId="290"/>
            <ac:picMk id="6" creationId="{7D64A7E2-EEA2-4804-8944-D345732DD306}"/>
          </ac:picMkLst>
        </pc:picChg>
      </pc:sldChg>
      <pc:sldChg chg="add ord">
        <pc:chgData name="Thomas Stensitzki" userId="75cafe6b-2f2a-469b-85c4-eec3b9c972ba" providerId="ADAL" clId="{C812352C-1FBF-4B94-8A03-7091541BB790}" dt="2021-09-18T11:00:33.175" v="40"/>
        <pc:sldMkLst>
          <pc:docMk/>
          <pc:sldMk cId="4048999337" sldId="291"/>
        </pc:sldMkLst>
      </pc:sldChg>
      <pc:sldMasterChg chg="modSldLayout">
        <pc:chgData name="Thomas Stensitzki" userId="75cafe6b-2f2a-469b-85c4-eec3b9c972ba" providerId="ADAL" clId="{C812352C-1FBF-4B94-8A03-7091541BB790}" dt="2021-09-18T10:51:48.155" v="10" actId="478"/>
        <pc:sldMasterMkLst>
          <pc:docMk/>
          <pc:sldMasterMk cId="247768031" sldId="2147483648"/>
        </pc:sldMasterMkLst>
        <pc:sldLayoutChg chg="addSp delSp modSp mod">
          <pc:chgData name="Thomas Stensitzki" userId="75cafe6b-2f2a-469b-85c4-eec3b9c972ba" providerId="ADAL" clId="{C812352C-1FBF-4B94-8A03-7091541BB790}" dt="2021-09-18T10:51:48.155" v="10" actId="478"/>
          <pc:sldLayoutMkLst>
            <pc:docMk/>
            <pc:sldMasterMk cId="247768031" sldId="2147483648"/>
            <pc:sldLayoutMk cId="2894238165" sldId="2147483649"/>
          </pc:sldLayoutMkLst>
          <pc:picChg chg="add del mod">
            <ac:chgData name="Thomas Stensitzki" userId="75cafe6b-2f2a-469b-85c4-eec3b9c972ba" providerId="ADAL" clId="{C812352C-1FBF-4B94-8A03-7091541BB790}" dt="2021-09-18T10:51:48.155" v="10" actId="478"/>
            <ac:picMkLst>
              <pc:docMk/>
              <pc:sldMasterMk cId="247768031" sldId="2147483648"/>
              <pc:sldLayoutMk cId="2894238165" sldId="2147483649"/>
              <ac:picMk id="8" creationId="{AF0D6A47-804C-4A0A-8D88-7184DBF83FC1}"/>
            </ac:picMkLst>
          </pc:picChg>
          <pc:picChg chg="add mod">
            <ac:chgData name="Thomas Stensitzki" userId="75cafe6b-2f2a-469b-85c4-eec3b9c972ba" providerId="ADAL" clId="{C812352C-1FBF-4B94-8A03-7091541BB790}" dt="2021-09-18T10:51:42.530" v="9" actId="14100"/>
            <ac:picMkLst>
              <pc:docMk/>
              <pc:sldMasterMk cId="247768031" sldId="2147483648"/>
              <pc:sldLayoutMk cId="2894238165" sldId="2147483649"/>
              <ac:picMk id="10" creationId="{B67F88B8-9E38-4C82-B3E3-82BC2A412D1D}"/>
            </ac:picMkLst>
          </pc:picChg>
        </pc:sldLayoutChg>
      </pc:sldMasterChg>
    </pc:docChg>
  </pc:docChgLst>
  <pc:docChgLst>
    <pc:chgData name="Thomas Stensitzki" userId="75cafe6b-2f2a-469b-85c4-eec3b9c972ba" providerId="ADAL" clId="{BB34D448-6975-423B-991B-AA2795354374}"/>
    <pc:docChg chg="undo custSel addSld delSld modSld modSection">
      <pc:chgData name="Thomas Stensitzki" userId="75cafe6b-2f2a-469b-85c4-eec3b9c972ba" providerId="ADAL" clId="{BB34D448-6975-423B-991B-AA2795354374}" dt="2020-09-24T08:36:55.440" v="3174" actId="20577"/>
      <pc:docMkLst>
        <pc:docMk/>
      </pc:docMkLst>
      <pc:sldChg chg="modSp mod">
        <pc:chgData name="Thomas Stensitzki" userId="75cafe6b-2f2a-469b-85c4-eec3b9c972ba" providerId="ADAL" clId="{BB34D448-6975-423B-991B-AA2795354374}" dt="2020-09-24T08:36:55.440" v="3174" actId="20577"/>
        <pc:sldMkLst>
          <pc:docMk/>
          <pc:sldMk cId="1331178014" sldId="256"/>
        </pc:sldMkLst>
        <pc:spChg chg="mod">
          <ac:chgData name="Thomas Stensitzki" userId="75cafe6b-2f2a-469b-85c4-eec3b9c972ba" providerId="ADAL" clId="{BB34D448-6975-423B-991B-AA2795354374}" dt="2020-09-23T19:14:21.934" v="25" actId="20577"/>
          <ac:spMkLst>
            <pc:docMk/>
            <pc:sldMk cId="1331178014" sldId="256"/>
            <ac:spMk id="2" creationId="{E137B2CB-D047-404D-B8CC-C662AA78F69E}"/>
          </ac:spMkLst>
        </pc:spChg>
        <pc:spChg chg="mod">
          <ac:chgData name="Thomas Stensitzki" userId="75cafe6b-2f2a-469b-85c4-eec3b9c972ba" providerId="ADAL" clId="{BB34D448-6975-423B-991B-AA2795354374}" dt="2020-09-24T08:36:55.440" v="3174" actId="20577"/>
          <ac:spMkLst>
            <pc:docMk/>
            <pc:sldMk cId="1331178014" sldId="256"/>
            <ac:spMk id="3" creationId="{FD1EE5AE-531F-46B2-BC77-BEC77D90CE70}"/>
          </ac:spMkLst>
        </pc:spChg>
      </pc:sldChg>
      <pc:sldChg chg="modSp mod">
        <pc:chgData name="Thomas Stensitzki" userId="75cafe6b-2f2a-469b-85c4-eec3b9c972ba" providerId="ADAL" clId="{BB34D448-6975-423B-991B-AA2795354374}" dt="2020-09-23T19:14:54.143" v="78" actId="20577"/>
        <pc:sldMkLst>
          <pc:docMk/>
          <pc:sldMk cId="2213403937" sldId="259"/>
        </pc:sldMkLst>
        <pc:spChg chg="mod">
          <ac:chgData name="Thomas Stensitzki" userId="75cafe6b-2f2a-469b-85c4-eec3b9c972ba" providerId="ADAL" clId="{BB34D448-6975-423B-991B-AA2795354374}" dt="2020-09-23T19:14:54.143" v="78" actId="20577"/>
          <ac:spMkLst>
            <pc:docMk/>
            <pc:sldMk cId="2213403937" sldId="259"/>
            <ac:spMk id="4" creationId="{1D2D1BF2-DBEA-44D1-B318-6E31D982F99B}"/>
          </ac:spMkLst>
        </pc:spChg>
      </pc:sldChg>
      <pc:sldChg chg="modSp mod">
        <pc:chgData name="Thomas Stensitzki" userId="75cafe6b-2f2a-469b-85c4-eec3b9c972ba" providerId="ADAL" clId="{BB34D448-6975-423B-991B-AA2795354374}" dt="2020-09-23T19:17:21.319" v="201" actId="3626"/>
        <pc:sldMkLst>
          <pc:docMk/>
          <pc:sldMk cId="2987849416" sldId="261"/>
        </pc:sldMkLst>
        <pc:spChg chg="mod">
          <ac:chgData name="Thomas Stensitzki" userId="75cafe6b-2f2a-469b-85c4-eec3b9c972ba" providerId="ADAL" clId="{BB34D448-6975-423B-991B-AA2795354374}" dt="2020-09-23T19:17:21.319" v="201" actId="3626"/>
          <ac:spMkLst>
            <pc:docMk/>
            <pc:sldMk cId="2987849416" sldId="261"/>
            <ac:spMk id="3" creationId="{00000000-0000-0000-0000-000000000000}"/>
          </ac:spMkLst>
        </pc:spChg>
      </pc:sldChg>
      <pc:sldChg chg="modSp mod">
        <pc:chgData name="Thomas Stensitzki" userId="75cafe6b-2f2a-469b-85c4-eec3b9c972ba" providerId="ADAL" clId="{BB34D448-6975-423B-991B-AA2795354374}" dt="2020-09-23T19:14:40.114" v="77" actId="20577"/>
        <pc:sldMkLst>
          <pc:docMk/>
          <pc:sldMk cId="1916615734" sldId="274"/>
        </pc:sldMkLst>
        <pc:spChg chg="mod">
          <ac:chgData name="Thomas Stensitzki" userId="75cafe6b-2f2a-469b-85c4-eec3b9c972ba" providerId="ADAL" clId="{BB34D448-6975-423B-991B-AA2795354374}" dt="2020-09-23T19:14:30.888" v="46" actId="20577"/>
          <ac:spMkLst>
            <pc:docMk/>
            <pc:sldMk cId="1916615734" sldId="274"/>
            <ac:spMk id="4" creationId="{70E8EAA7-76C4-4D2B-81CE-57CA4627D39E}"/>
          </ac:spMkLst>
        </pc:spChg>
        <pc:spChg chg="mod">
          <ac:chgData name="Thomas Stensitzki" userId="75cafe6b-2f2a-469b-85c4-eec3b9c972ba" providerId="ADAL" clId="{BB34D448-6975-423B-991B-AA2795354374}" dt="2020-09-23T19:14:40.114" v="77" actId="20577"/>
          <ac:spMkLst>
            <pc:docMk/>
            <pc:sldMk cId="1916615734" sldId="274"/>
            <ac:spMk id="5" creationId="{94140262-613E-47E0-8110-F2C2EDE2EFD9}"/>
          </ac:spMkLst>
        </pc:spChg>
      </pc:sldChg>
      <pc:sldChg chg="modSp mod modAnim">
        <pc:chgData name="Thomas Stensitzki" userId="75cafe6b-2f2a-469b-85c4-eec3b9c972ba" providerId="ADAL" clId="{BB34D448-6975-423B-991B-AA2795354374}" dt="2020-09-24T08:19:59.826" v="3145" actId="20577"/>
        <pc:sldMkLst>
          <pc:docMk/>
          <pc:sldMk cId="1471672440" sldId="277"/>
        </pc:sldMkLst>
        <pc:spChg chg="mod">
          <ac:chgData name="Thomas Stensitzki" userId="75cafe6b-2f2a-469b-85c4-eec3b9c972ba" providerId="ADAL" clId="{BB34D448-6975-423B-991B-AA2795354374}" dt="2020-09-23T19:40:55.155" v="1814" actId="20577"/>
          <ac:spMkLst>
            <pc:docMk/>
            <pc:sldMk cId="1471672440" sldId="277"/>
            <ac:spMk id="7" creationId="{DECEB6B6-B5D5-4B5B-BBF3-49FAE1F90F1F}"/>
          </ac:spMkLst>
        </pc:spChg>
        <pc:spChg chg="mod">
          <ac:chgData name="Thomas Stensitzki" userId="75cafe6b-2f2a-469b-85c4-eec3b9c972ba" providerId="ADAL" clId="{BB34D448-6975-423B-991B-AA2795354374}" dt="2020-09-24T08:19:59.826" v="3145" actId="20577"/>
          <ac:spMkLst>
            <pc:docMk/>
            <pc:sldMk cId="1471672440" sldId="277"/>
            <ac:spMk id="8" creationId="{B6D3E901-AF0C-4750-A333-85A65F610443}"/>
          </ac:spMkLst>
        </pc:spChg>
      </pc:sldChg>
      <pc:sldChg chg="modSp mod modShow">
        <pc:chgData name="Thomas Stensitzki" userId="75cafe6b-2f2a-469b-85c4-eec3b9c972ba" providerId="ADAL" clId="{BB34D448-6975-423B-991B-AA2795354374}" dt="2020-09-24T07:53:19.923" v="2993" actId="729"/>
        <pc:sldMkLst>
          <pc:docMk/>
          <pc:sldMk cId="1329302650" sldId="278"/>
        </pc:sldMkLst>
        <pc:graphicFrameChg chg="modGraphic">
          <ac:chgData name="Thomas Stensitzki" userId="75cafe6b-2f2a-469b-85c4-eec3b9c972ba" providerId="ADAL" clId="{BB34D448-6975-423B-991B-AA2795354374}" dt="2020-09-23T22:33:26.834" v="2784" actId="400"/>
          <ac:graphicFrameMkLst>
            <pc:docMk/>
            <pc:sldMk cId="1329302650" sldId="278"/>
            <ac:graphicFrameMk id="2" creationId="{3BC2114B-B5DE-493A-B70F-3FAF18361F5F}"/>
          </ac:graphicFrameMkLst>
        </pc:graphicFrameChg>
      </pc:sldChg>
      <pc:sldChg chg="del">
        <pc:chgData name="Thomas Stensitzki" userId="75cafe6b-2f2a-469b-85c4-eec3b9c972ba" providerId="ADAL" clId="{BB34D448-6975-423B-991B-AA2795354374}" dt="2020-09-23T19:43:44.276" v="1816" actId="47"/>
        <pc:sldMkLst>
          <pc:docMk/>
          <pc:sldMk cId="3866417615" sldId="279"/>
        </pc:sldMkLst>
      </pc:sldChg>
      <pc:sldChg chg="del">
        <pc:chgData name="Thomas Stensitzki" userId="75cafe6b-2f2a-469b-85c4-eec3b9c972ba" providerId="ADAL" clId="{BB34D448-6975-423B-991B-AA2795354374}" dt="2020-09-23T19:43:46.940" v="1817" actId="47"/>
        <pc:sldMkLst>
          <pc:docMk/>
          <pc:sldMk cId="3696775666" sldId="280"/>
        </pc:sldMkLst>
      </pc:sldChg>
      <pc:sldChg chg="del">
        <pc:chgData name="Thomas Stensitzki" userId="75cafe6b-2f2a-469b-85c4-eec3b9c972ba" providerId="ADAL" clId="{BB34D448-6975-423B-991B-AA2795354374}" dt="2020-09-23T19:43:51.703" v="1819" actId="47"/>
        <pc:sldMkLst>
          <pc:docMk/>
          <pc:sldMk cId="3784654355" sldId="281"/>
        </pc:sldMkLst>
      </pc:sldChg>
      <pc:sldChg chg="del">
        <pc:chgData name="Thomas Stensitzki" userId="75cafe6b-2f2a-469b-85c4-eec3b9c972ba" providerId="ADAL" clId="{BB34D448-6975-423B-991B-AA2795354374}" dt="2020-09-23T19:43:50.573" v="1818" actId="47"/>
        <pc:sldMkLst>
          <pc:docMk/>
          <pc:sldMk cId="2972798004" sldId="282"/>
        </pc:sldMkLst>
      </pc:sldChg>
      <pc:sldChg chg="modSp add mod modAnim">
        <pc:chgData name="Thomas Stensitzki" userId="75cafe6b-2f2a-469b-85c4-eec3b9c972ba" providerId="ADAL" clId="{BB34D448-6975-423B-991B-AA2795354374}" dt="2020-09-23T19:40:09.269" v="1768" actId="20577"/>
        <pc:sldMkLst>
          <pc:docMk/>
          <pc:sldMk cId="3917571299" sldId="283"/>
        </pc:sldMkLst>
        <pc:spChg chg="mod">
          <ac:chgData name="Thomas Stensitzki" userId="75cafe6b-2f2a-469b-85c4-eec3b9c972ba" providerId="ADAL" clId="{BB34D448-6975-423B-991B-AA2795354374}" dt="2020-09-23T19:35:07.519" v="1207" actId="207"/>
          <ac:spMkLst>
            <pc:docMk/>
            <pc:sldMk cId="3917571299" sldId="283"/>
            <ac:spMk id="7" creationId="{DECEB6B6-B5D5-4B5B-BBF3-49FAE1F90F1F}"/>
          </ac:spMkLst>
        </pc:spChg>
        <pc:spChg chg="mod">
          <ac:chgData name="Thomas Stensitzki" userId="75cafe6b-2f2a-469b-85c4-eec3b9c972ba" providerId="ADAL" clId="{BB34D448-6975-423B-991B-AA2795354374}" dt="2020-09-23T19:40:09.269" v="1768" actId="20577"/>
          <ac:spMkLst>
            <pc:docMk/>
            <pc:sldMk cId="3917571299" sldId="283"/>
            <ac:spMk id="8" creationId="{B6D3E901-AF0C-4750-A333-85A65F610443}"/>
          </ac:spMkLst>
        </pc:spChg>
      </pc:sldChg>
      <pc:sldChg chg="addSp delSp modSp add mod delAnim modAnim modNotesTx">
        <pc:chgData name="Thomas Stensitzki" userId="75cafe6b-2f2a-469b-85c4-eec3b9c972ba" providerId="ADAL" clId="{BB34D448-6975-423B-991B-AA2795354374}" dt="2020-09-24T08:34:20.212" v="3148" actId="6549"/>
        <pc:sldMkLst>
          <pc:docMk/>
          <pc:sldMk cId="2936337643" sldId="284"/>
        </pc:sldMkLst>
        <pc:spChg chg="add del mod">
          <ac:chgData name="Thomas Stensitzki" userId="75cafe6b-2f2a-469b-85c4-eec3b9c972ba" providerId="ADAL" clId="{BB34D448-6975-423B-991B-AA2795354374}" dt="2020-09-23T19:53:41.669" v="1867" actId="478"/>
          <ac:spMkLst>
            <pc:docMk/>
            <pc:sldMk cId="2936337643" sldId="284"/>
            <ac:spMk id="3" creationId="{D87412CC-10AF-4EFD-9CAF-B269FCA915EB}"/>
          </ac:spMkLst>
        </pc:spChg>
        <pc:spChg chg="mod">
          <ac:chgData name="Thomas Stensitzki" userId="75cafe6b-2f2a-469b-85c4-eec3b9c972ba" providerId="ADAL" clId="{BB34D448-6975-423B-991B-AA2795354374}" dt="2020-09-24T07:19:21.239" v="2869" actId="6549"/>
          <ac:spMkLst>
            <pc:docMk/>
            <pc:sldMk cId="2936337643" sldId="284"/>
            <ac:spMk id="7" creationId="{DECEB6B6-B5D5-4B5B-BBF3-49FAE1F90F1F}"/>
          </ac:spMkLst>
        </pc:spChg>
        <pc:spChg chg="del">
          <ac:chgData name="Thomas Stensitzki" userId="75cafe6b-2f2a-469b-85c4-eec3b9c972ba" providerId="ADAL" clId="{BB34D448-6975-423B-991B-AA2795354374}" dt="2020-09-23T19:53:39.850" v="1866" actId="478"/>
          <ac:spMkLst>
            <pc:docMk/>
            <pc:sldMk cId="2936337643" sldId="284"/>
            <ac:spMk id="8" creationId="{B6D3E901-AF0C-4750-A333-85A65F610443}"/>
          </ac:spMkLst>
        </pc:spChg>
        <pc:spChg chg="add mod">
          <ac:chgData name="Thomas Stensitzki" userId="75cafe6b-2f2a-469b-85c4-eec3b9c972ba" providerId="ADAL" clId="{BB34D448-6975-423B-991B-AA2795354374}" dt="2020-09-24T07:18:05.050" v="2785" actId="164"/>
          <ac:spMkLst>
            <pc:docMk/>
            <pc:sldMk cId="2936337643" sldId="284"/>
            <ac:spMk id="18" creationId="{A9A15BC5-F2A4-490E-A946-6D0DBA989075}"/>
          </ac:spMkLst>
        </pc:spChg>
        <pc:spChg chg="add mod">
          <ac:chgData name="Thomas Stensitzki" userId="75cafe6b-2f2a-469b-85c4-eec3b9c972ba" providerId="ADAL" clId="{BB34D448-6975-423B-991B-AA2795354374}" dt="2020-09-24T07:18:05.050" v="2785" actId="164"/>
          <ac:spMkLst>
            <pc:docMk/>
            <pc:sldMk cId="2936337643" sldId="284"/>
            <ac:spMk id="20" creationId="{96E7A09D-2886-46E4-B0CC-967A5041731B}"/>
          </ac:spMkLst>
        </pc:spChg>
        <pc:spChg chg="add mod">
          <ac:chgData name="Thomas Stensitzki" userId="75cafe6b-2f2a-469b-85c4-eec3b9c972ba" providerId="ADAL" clId="{BB34D448-6975-423B-991B-AA2795354374}" dt="2020-09-24T07:18:05.050" v="2785" actId="164"/>
          <ac:spMkLst>
            <pc:docMk/>
            <pc:sldMk cId="2936337643" sldId="284"/>
            <ac:spMk id="22" creationId="{5A44795D-9D5F-463A-A0FA-2062C83F8893}"/>
          </ac:spMkLst>
        </pc:spChg>
        <pc:spChg chg="add mod">
          <ac:chgData name="Thomas Stensitzki" userId="75cafe6b-2f2a-469b-85c4-eec3b9c972ba" providerId="ADAL" clId="{BB34D448-6975-423B-991B-AA2795354374}" dt="2020-09-24T07:18:05.050" v="2785" actId="164"/>
          <ac:spMkLst>
            <pc:docMk/>
            <pc:sldMk cId="2936337643" sldId="284"/>
            <ac:spMk id="24" creationId="{43288F2D-4BCE-44DC-A6C7-DBE04EC46600}"/>
          </ac:spMkLst>
        </pc:spChg>
        <pc:spChg chg="add mod">
          <ac:chgData name="Thomas Stensitzki" userId="75cafe6b-2f2a-469b-85c4-eec3b9c972ba" providerId="ADAL" clId="{BB34D448-6975-423B-991B-AA2795354374}" dt="2020-09-24T07:18:05.050" v="2785" actId="164"/>
          <ac:spMkLst>
            <pc:docMk/>
            <pc:sldMk cId="2936337643" sldId="284"/>
            <ac:spMk id="26" creationId="{FB2A01E1-154F-404E-B124-25335183DDEB}"/>
          </ac:spMkLst>
        </pc:spChg>
        <pc:spChg chg="add mod">
          <ac:chgData name="Thomas Stensitzki" userId="75cafe6b-2f2a-469b-85c4-eec3b9c972ba" providerId="ADAL" clId="{BB34D448-6975-423B-991B-AA2795354374}" dt="2020-09-24T07:18:05.050" v="2785" actId="164"/>
          <ac:spMkLst>
            <pc:docMk/>
            <pc:sldMk cId="2936337643" sldId="284"/>
            <ac:spMk id="28" creationId="{B5A72DD4-42E3-419C-802F-9EA566F84DD8}"/>
          </ac:spMkLst>
        </pc:spChg>
        <pc:spChg chg="add mod">
          <ac:chgData name="Thomas Stensitzki" userId="75cafe6b-2f2a-469b-85c4-eec3b9c972ba" providerId="ADAL" clId="{BB34D448-6975-423B-991B-AA2795354374}" dt="2020-09-24T07:30:11.912" v="2946" actId="164"/>
          <ac:spMkLst>
            <pc:docMk/>
            <pc:sldMk cId="2936337643" sldId="284"/>
            <ac:spMk id="29" creationId="{7364B57E-425A-4752-9F37-D5268F998728}"/>
          </ac:spMkLst>
        </pc:spChg>
        <pc:spChg chg="add mod">
          <ac:chgData name="Thomas Stensitzki" userId="75cafe6b-2f2a-469b-85c4-eec3b9c972ba" providerId="ADAL" clId="{BB34D448-6975-423B-991B-AA2795354374}" dt="2020-09-24T07:30:11.912" v="2946" actId="164"/>
          <ac:spMkLst>
            <pc:docMk/>
            <pc:sldMk cId="2936337643" sldId="284"/>
            <ac:spMk id="31" creationId="{CDC88C02-815E-4693-9181-71468CB10D9E}"/>
          </ac:spMkLst>
        </pc:spChg>
        <pc:spChg chg="add mod">
          <ac:chgData name="Thomas Stensitzki" userId="75cafe6b-2f2a-469b-85c4-eec3b9c972ba" providerId="ADAL" clId="{BB34D448-6975-423B-991B-AA2795354374}" dt="2020-09-24T08:06:42.359" v="3073" actId="1076"/>
          <ac:spMkLst>
            <pc:docMk/>
            <pc:sldMk cId="2936337643" sldId="284"/>
            <ac:spMk id="41" creationId="{6B923075-406C-4A79-849F-DD56F06C9F4F}"/>
          </ac:spMkLst>
        </pc:spChg>
        <pc:spChg chg="add mod">
          <ac:chgData name="Thomas Stensitzki" userId="75cafe6b-2f2a-469b-85c4-eec3b9c972ba" providerId="ADAL" clId="{BB34D448-6975-423B-991B-AA2795354374}" dt="2020-09-24T07:20:09.707" v="2870" actId="164"/>
          <ac:spMkLst>
            <pc:docMk/>
            <pc:sldMk cId="2936337643" sldId="284"/>
            <ac:spMk id="42" creationId="{44B6468D-4A8E-411C-96A8-D2FA2E55BEBA}"/>
          </ac:spMkLst>
        </pc:spChg>
        <pc:spChg chg="add mod">
          <ac:chgData name="Thomas Stensitzki" userId="75cafe6b-2f2a-469b-85c4-eec3b9c972ba" providerId="ADAL" clId="{BB34D448-6975-423B-991B-AA2795354374}" dt="2020-09-24T07:21:17.498" v="2877" actId="164"/>
          <ac:spMkLst>
            <pc:docMk/>
            <pc:sldMk cId="2936337643" sldId="284"/>
            <ac:spMk id="44" creationId="{F0F674DF-DE5D-419E-B772-6EDB4A5363C3}"/>
          </ac:spMkLst>
        </pc:spChg>
        <pc:spChg chg="add mod">
          <ac:chgData name="Thomas Stensitzki" userId="75cafe6b-2f2a-469b-85c4-eec3b9c972ba" providerId="ADAL" clId="{BB34D448-6975-423B-991B-AA2795354374}" dt="2020-09-24T08:34:20.212" v="3148" actId="6549"/>
          <ac:spMkLst>
            <pc:docMk/>
            <pc:sldMk cId="2936337643" sldId="284"/>
            <ac:spMk id="46" creationId="{F7E13619-E558-4423-A069-5F49C90BF884}"/>
          </ac:spMkLst>
        </pc:spChg>
        <pc:spChg chg="add del mod">
          <ac:chgData name="Thomas Stensitzki" userId="75cafe6b-2f2a-469b-85c4-eec3b9c972ba" providerId="ADAL" clId="{BB34D448-6975-423B-991B-AA2795354374}" dt="2020-09-23T21:12:13.258" v="2173" actId="478"/>
          <ac:spMkLst>
            <pc:docMk/>
            <pc:sldMk cId="2936337643" sldId="284"/>
            <ac:spMk id="65" creationId="{B8459680-A25B-4744-9490-6616DE760993}"/>
          </ac:spMkLst>
        </pc:spChg>
        <pc:spChg chg="add mod">
          <ac:chgData name="Thomas Stensitzki" userId="75cafe6b-2f2a-469b-85c4-eec3b9c972ba" providerId="ADAL" clId="{BB34D448-6975-423B-991B-AA2795354374}" dt="2020-09-24T07:53:13.088" v="2992" actId="20577"/>
          <ac:spMkLst>
            <pc:docMk/>
            <pc:sldMk cId="2936337643" sldId="284"/>
            <ac:spMk id="66" creationId="{00CED85F-7C64-41B5-9989-4B80317B500D}"/>
          </ac:spMkLst>
        </pc:spChg>
        <pc:spChg chg="add mod">
          <ac:chgData name="Thomas Stensitzki" userId="75cafe6b-2f2a-469b-85c4-eec3b9c972ba" providerId="ADAL" clId="{BB34D448-6975-423B-991B-AA2795354374}" dt="2020-09-24T07:28:05.669" v="2898" actId="164"/>
          <ac:spMkLst>
            <pc:docMk/>
            <pc:sldMk cId="2936337643" sldId="284"/>
            <ac:spMk id="67" creationId="{F8C7E7F0-71D6-405C-A28E-60D857CD654E}"/>
          </ac:spMkLst>
        </pc:spChg>
        <pc:spChg chg="add mod">
          <ac:chgData name="Thomas Stensitzki" userId="75cafe6b-2f2a-469b-85c4-eec3b9c972ba" providerId="ADAL" clId="{BB34D448-6975-423B-991B-AA2795354374}" dt="2020-09-24T07:22:50.824" v="2883" actId="164"/>
          <ac:spMkLst>
            <pc:docMk/>
            <pc:sldMk cId="2936337643" sldId="284"/>
            <ac:spMk id="69" creationId="{8C344584-B4EC-41FA-8698-754C1641EBA0}"/>
          </ac:spMkLst>
        </pc:spChg>
        <pc:spChg chg="add mod">
          <ac:chgData name="Thomas Stensitzki" userId="75cafe6b-2f2a-469b-85c4-eec3b9c972ba" providerId="ADAL" clId="{BB34D448-6975-423B-991B-AA2795354374}" dt="2020-09-24T07:20:42.429" v="2872" actId="164"/>
          <ac:spMkLst>
            <pc:docMk/>
            <pc:sldMk cId="2936337643" sldId="284"/>
            <ac:spMk id="71" creationId="{ED48BEA2-A653-442C-A779-1A7D5E97444C}"/>
          </ac:spMkLst>
        </pc:spChg>
        <pc:spChg chg="add mod">
          <ac:chgData name="Thomas Stensitzki" userId="75cafe6b-2f2a-469b-85c4-eec3b9c972ba" providerId="ADAL" clId="{BB34D448-6975-423B-991B-AA2795354374}" dt="2020-09-23T21:52:17.066" v="2490" actId="207"/>
          <ac:spMkLst>
            <pc:docMk/>
            <pc:sldMk cId="2936337643" sldId="284"/>
            <ac:spMk id="72" creationId="{E7E67A63-953E-453A-83C7-15E972080F3A}"/>
          </ac:spMkLst>
        </pc:spChg>
        <pc:spChg chg="add mod">
          <ac:chgData name="Thomas Stensitzki" userId="75cafe6b-2f2a-469b-85c4-eec3b9c972ba" providerId="ADAL" clId="{BB34D448-6975-423B-991B-AA2795354374}" dt="2020-09-24T07:43:33.040" v="2957" actId="164"/>
          <ac:spMkLst>
            <pc:docMk/>
            <pc:sldMk cId="2936337643" sldId="284"/>
            <ac:spMk id="78" creationId="{DED63A95-5717-4FD4-B5E2-DE6537AFDBE1}"/>
          </ac:spMkLst>
        </pc:spChg>
        <pc:spChg chg="add mod">
          <ac:chgData name="Thomas Stensitzki" userId="75cafe6b-2f2a-469b-85c4-eec3b9c972ba" providerId="ADAL" clId="{BB34D448-6975-423B-991B-AA2795354374}" dt="2020-09-24T07:43:54.957" v="2959" actId="164"/>
          <ac:spMkLst>
            <pc:docMk/>
            <pc:sldMk cId="2936337643" sldId="284"/>
            <ac:spMk id="84" creationId="{825572ED-DEA5-4E5B-A536-BB59D1EBD382}"/>
          </ac:spMkLst>
        </pc:spChg>
        <pc:spChg chg="add mod">
          <ac:chgData name="Thomas Stensitzki" userId="75cafe6b-2f2a-469b-85c4-eec3b9c972ba" providerId="ADAL" clId="{BB34D448-6975-423B-991B-AA2795354374}" dt="2020-09-24T07:46:38.973" v="2964" actId="164"/>
          <ac:spMkLst>
            <pc:docMk/>
            <pc:sldMk cId="2936337643" sldId="284"/>
            <ac:spMk id="86" creationId="{AF7C3F63-F3D7-4402-8F6C-B650A6DD9560}"/>
          </ac:spMkLst>
        </pc:spChg>
        <pc:grpChg chg="add mod">
          <ac:chgData name="Thomas Stensitzki" userId="75cafe6b-2f2a-469b-85c4-eec3b9c972ba" providerId="ADAL" clId="{BB34D448-6975-423B-991B-AA2795354374}" dt="2020-09-24T07:18:05.050" v="2785" actId="164"/>
          <ac:grpSpMkLst>
            <pc:docMk/>
            <pc:sldMk cId="2936337643" sldId="284"/>
            <ac:grpSpMk id="2" creationId="{3565012F-CB19-4F48-994A-6E39AA32F671}"/>
          </ac:grpSpMkLst>
        </pc:grpChg>
        <pc:grpChg chg="add mod">
          <ac:chgData name="Thomas Stensitzki" userId="75cafe6b-2f2a-469b-85c4-eec3b9c972ba" providerId="ADAL" clId="{BB34D448-6975-423B-991B-AA2795354374}" dt="2020-09-24T07:20:09.707" v="2870" actId="164"/>
          <ac:grpSpMkLst>
            <pc:docMk/>
            <pc:sldMk cId="2936337643" sldId="284"/>
            <ac:grpSpMk id="3" creationId="{21259E35-E2A6-4A68-9373-68D4E5774CB2}"/>
          </ac:grpSpMkLst>
        </pc:grpChg>
        <pc:grpChg chg="add mod">
          <ac:chgData name="Thomas Stensitzki" userId="75cafe6b-2f2a-469b-85c4-eec3b9c972ba" providerId="ADAL" clId="{BB34D448-6975-423B-991B-AA2795354374}" dt="2020-09-24T07:20:42.429" v="2872" actId="164"/>
          <ac:grpSpMkLst>
            <pc:docMk/>
            <pc:sldMk cId="2936337643" sldId="284"/>
            <ac:grpSpMk id="4" creationId="{A8468B08-DB60-4AAA-A39D-67F08BE9BD23}"/>
          </ac:grpSpMkLst>
        </pc:grpChg>
        <pc:grpChg chg="add mod">
          <ac:chgData name="Thomas Stensitzki" userId="75cafe6b-2f2a-469b-85c4-eec3b9c972ba" providerId="ADAL" clId="{BB34D448-6975-423B-991B-AA2795354374}" dt="2020-09-24T07:21:17.498" v="2877" actId="164"/>
          <ac:grpSpMkLst>
            <pc:docMk/>
            <pc:sldMk cId="2936337643" sldId="284"/>
            <ac:grpSpMk id="10" creationId="{602E3752-E0E1-49B1-97D2-3F100C13A865}"/>
          </ac:grpSpMkLst>
        </pc:grpChg>
        <pc:grpChg chg="add mod">
          <ac:chgData name="Thomas Stensitzki" userId="75cafe6b-2f2a-469b-85c4-eec3b9c972ba" providerId="ADAL" clId="{BB34D448-6975-423B-991B-AA2795354374}" dt="2020-09-24T07:22:50.824" v="2883" actId="164"/>
          <ac:grpSpMkLst>
            <pc:docMk/>
            <pc:sldMk cId="2936337643" sldId="284"/>
            <ac:grpSpMk id="14" creationId="{0AB230B2-7086-4897-86B9-0437FA637D25}"/>
          </ac:grpSpMkLst>
        </pc:grpChg>
        <pc:grpChg chg="add mod">
          <ac:chgData name="Thomas Stensitzki" userId="75cafe6b-2f2a-469b-85c4-eec3b9c972ba" providerId="ADAL" clId="{BB34D448-6975-423B-991B-AA2795354374}" dt="2020-09-24T07:23:07.217" v="2885" actId="164"/>
          <ac:grpSpMkLst>
            <pc:docMk/>
            <pc:sldMk cId="2936337643" sldId="284"/>
            <ac:grpSpMk id="16" creationId="{2E79846B-04D2-4D96-8DE7-C33965609C87}"/>
          </ac:grpSpMkLst>
        </pc:grpChg>
        <pc:grpChg chg="add mod">
          <ac:chgData name="Thomas Stensitzki" userId="75cafe6b-2f2a-469b-85c4-eec3b9c972ba" providerId="ADAL" clId="{BB34D448-6975-423B-991B-AA2795354374}" dt="2020-09-24T07:28:05.669" v="2898" actId="164"/>
          <ac:grpSpMkLst>
            <pc:docMk/>
            <pc:sldMk cId="2936337643" sldId="284"/>
            <ac:grpSpMk id="27" creationId="{2B1759CD-AC87-4EFB-B653-70FCF9B3ADC4}"/>
          </ac:grpSpMkLst>
        </pc:grpChg>
        <pc:grpChg chg="add mod">
          <ac:chgData name="Thomas Stensitzki" userId="75cafe6b-2f2a-469b-85c4-eec3b9c972ba" providerId="ADAL" clId="{BB34D448-6975-423B-991B-AA2795354374}" dt="2020-09-24T07:30:11.912" v="2946" actId="164"/>
          <ac:grpSpMkLst>
            <pc:docMk/>
            <pc:sldMk cId="2936337643" sldId="284"/>
            <ac:grpSpMk id="32" creationId="{E7D935B3-71F7-4528-9645-1D74941016DE}"/>
          </ac:grpSpMkLst>
        </pc:grpChg>
        <pc:grpChg chg="add mod">
          <ac:chgData name="Thomas Stensitzki" userId="75cafe6b-2f2a-469b-85c4-eec3b9c972ba" providerId="ADAL" clId="{BB34D448-6975-423B-991B-AA2795354374}" dt="2020-09-24T07:43:33.040" v="2957" actId="164"/>
          <ac:grpSpMkLst>
            <pc:docMk/>
            <pc:sldMk cId="2936337643" sldId="284"/>
            <ac:grpSpMk id="33" creationId="{A32A1B82-35F2-4295-80A4-A2D7DA69A3F3}"/>
          </ac:grpSpMkLst>
        </pc:grpChg>
        <pc:grpChg chg="add mod">
          <ac:chgData name="Thomas Stensitzki" userId="75cafe6b-2f2a-469b-85c4-eec3b9c972ba" providerId="ADAL" clId="{BB34D448-6975-423B-991B-AA2795354374}" dt="2020-09-24T07:43:54.957" v="2959" actId="164"/>
          <ac:grpSpMkLst>
            <pc:docMk/>
            <pc:sldMk cId="2936337643" sldId="284"/>
            <ac:grpSpMk id="35" creationId="{ED6DC988-D106-4D8A-9A23-ED81F31C8685}"/>
          </ac:grpSpMkLst>
        </pc:grpChg>
        <pc:grpChg chg="add mod">
          <ac:chgData name="Thomas Stensitzki" userId="75cafe6b-2f2a-469b-85c4-eec3b9c972ba" providerId="ADAL" clId="{BB34D448-6975-423B-991B-AA2795354374}" dt="2020-09-24T07:46:38.973" v="2964" actId="164"/>
          <ac:grpSpMkLst>
            <pc:docMk/>
            <pc:sldMk cId="2936337643" sldId="284"/>
            <ac:grpSpMk id="40" creationId="{9D19F5E5-06F0-4281-BBF3-2017409A065B}"/>
          </ac:grpSpMkLst>
        </pc:grpChg>
        <pc:picChg chg="add del mod">
          <ac:chgData name="Thomas Stensitzki" userId="75cafe6b-2f2a-469b-85c4-eec3b9c972ba" providerId="ADAL" clId="{BB34D448-6975-423B-991B-AA2795354374}" dt="2020-09-23T22:16:34.983" v="2744" actId="478"/>
          <ac:picMkLst>
            <pc:docMk/>
            <pc:sldMk cId="2936337643" sldId="284"/>
            <ac:picMk id="91" creationId="{3D2C114E-6146-4AF9-BB83-44D16C8DFE6F}"/>
          </ac:picMkLst>
        </pc:picChg>
        <pc:cxnChg chg="add mod">
          <ac:chgData name="Thomas Stensitzki" userId="75cafe6b-2f2a-469b-85c4-eec3b9c972ba" providerId="ADAL" clId="{BB34D448-6975-423B-991B-AA2795354374}" dt="2020-09-24T07:18:05.050" v="2785" actId="164"/>
          <ac:cxnSpMkLst>
            <pc:docMk/>
            <pc:sldMk cId="2936337643" sldId="284"/>
            <ac:cxnSpMk id="5" creationId="{1FCE7D93-4221-43A7-B786-F98363F32DA0}"/>
          </ac:cxnSpMkLst>
        </pc:cxnChg>
        <pc:cxnChg chg="add mod">
          <ac:chgData name="Thomas Stensitzki" userId="75cafe6b-2f2a-469b-85c4-eec3b9c972ba" providerId="ADAL" clId="{BB34D448-6975-423B-991B-AA2795354374}" dt="2020-09-24T07:18:05.050" v="2785" actId="164"/>
          <ac:cxnSpMkLst>
            <pc:docMk/>
            <pc:sldMk cId="2936337643" sldId="284"/>
            <ac:cxnSpMk id="6" creationId="{2C96A81D-5BFB-4969-8C53-26C9FF6BD1AA}"/>
          </ac:cxnSpMkLst>
        </pc:cxnChg>
        <pc:cxnChg chg="add mod">
          <ac:chgData name="Thomas Stensitzki" userId="75cafe6b-2f2a-469b-85c4-eec3b9c972ba" providerId="ADAL" clId="{BB34D448-6975-423B-991B-AA2795354374}" dt="2020-09-24T07:18:05.050" v="2785" actId="164"/>
          <ac:cxnSpMkLst>
            <pc:docMk/>
            <pc:sldMk cId="2936337643" sldId="284"/>
            <ac:cxnSpMk id="11" creationId="{840CED16-CF2E-40C2-A33D-9EA32D45E7FA}"/>
          </ac:cxnSpMkLst>
        </pc:cxnChg>
        <pc:cxnChg chg="add mod">
          <ac:chgData name="Thomas Stensitzki" userId="75cafe6b-2f2a-469b-85c4-eec3b9c972ba" providerId="ADAL" clId="{BB34D448-6975-423B-991B-AA2795354374}" dt="2020-09-24T07:22:50.824" v="2883" actId="164"/>
          <ac:cxnSpMkLst>
            <pc:docMk/>
            <pc:sldMk cId="2936337643" sldId="284"/>
            <ac:cxnSpMk id="12" creationId="{D12B2387-F95A-4143-B33E-60967312EF05}"/>
          </ac:cxnSpMkLst>
        </pc:cxnChg>
        <pc:cxnChg chg="add mod">
          <ac:chgData name="Thomas Stensitzki" userId="75cafe6b-2f2a-469b-85c4-eec3b9c972ba" providerId="ADAL" clId="{BB34D448-6975-423B-991B-AA2795354374}" dt="2020-09-24T07:18:05.050" v="2785" actId="164"/>
          <ac:cxnSpMkLst>
            <pc:docMk/>
            <pc:sldMk cId="2936337643" sldId="284"/>
            <ac:cxnSpMk id="13" creationId="{714858E8-4FBA-417B-BFC3-62AE46BB74AF}"/>
          </ac:cxnSpMkLst>
        </pc:cxnChg>
        <pc:cxnChg chg="add mod">
          <ac:chgData name="Thomas Stensitzki" userId="75cafe6b-2f2a-469b-85c4-eec3b9c972ba" providerId="ADAL" clId="{BB34D448-6975-423B-991B-AA2795354374}" dt="2020-09-24T07:18:05.050" v="2785" actId="164"/>
          <ac:cxnSpMkLst>
            <pc:docMk/>
            <pc:sldMk cId="2936337643" sldId="284"/>
            <ac:cxnSpMk id="15" creationId="{89BF852B-67C8-40A8-84EA-C0243C83B6E7}"/>
          </ac:cxnSpMkLst>
        </pc:cxnChg>
        <pc:cxnChg chg="add mod">
          <ac:chgData name="Thomas Stensitzki" userId="75cafe6b-2f2a-469b-85c4-eec3b9c972ba" providerId="ADAL" clId="{BB34D448-6975-423B-991B-AA2795354374}" dt="2020-09-24T07:18:05.050" v="2785" actId="164"/>
          <ac:cxnSpMkLst>
            <pc:docMk/>
            <pc:sldMk cId="2936337643" sldId="284"/>
            <ac:cxnSpMk id="17" creationId="{A8F779D4-F74A-4551-BAF5-0BD5FFEE0D56}"/>
          </ac:cxnSpMkLst>
        </pc:cxnChg>
        <pc:cxnChg chg="add mod">
          <ac:chgData name="Thomas Stensitzki" userId="75cafe6b-2f2a-469b-85c4-eec3b9c972ba" providerId="ADAL" clId="{BB34D448-6975-423B-991B-AA2795354374}" dt="2020-09-24T07:30:11.912" v="2946" actId="164"/>
          <ac:cxnSpMkLst>
            <pc:docMk/>
            <pc:sldMk cId="2936337643" sldId="284"/>
            <ac:cxnSpMk id="19" creationId="{8AC28480-C8C7-453B-9295-EB56B6EA2BC4}"/>
          </ac:cxnSpMkLst>
        </pc:cxnChg>
        <pc:cxnChg chg="add mod">
          <ac:chgData name="Thomas Stensitzki" userId="75cafe6b-2f2a-469b-85c4-eec3b9c972ba" providerId="ADAL" clId="{BB34D448-6975-423B-991B-AA2795354374}" dt="2020-09-24T07:30:11.912" v="2946" actId="164"/>
          <ac:cxnSpMkLst>
            <pc:docMk/>
            <pc:sldMk cId="2936337643" sldId="284"/>
            <ac:cxnSpMk id="23" creationId="{1B4FA40E-F4D1-446D-9BC8-39F827686D48}"/>
          </ac:cxnSpMkLst>
        </pc:cxnChg>
        <pc:cxnChg chg="add mod">
          <ac:chgData name="Thomas Stensitzki" userId="75cafe6b-2f2a-469b-85c4-eec3b9c972ba" providerId="ADAL" clId="{BB34D448-6975-423B-991B-AA2795354374}" dt="2020-09-24T07:28:05.669" v="2898" actId="164"/>
          <ac:cxnSpMkLst>
            <pc:docMk/>
            <pc:sldMk cId="2936337643" sldId="284"/>
            <ac:cxnSpMk id="25" creationId="{18C930B9-D965-4911-98DF-30F70956C205}"/>
          </ac:cxnSpMkLst>
        </pc:cxnChg>
        <pc:cxnChg chg="add mod">
          <ac:chgData name="Thomas Stensitzki" userId="75cafe6b-2f2a-469b-85c4-eec3b9c972ba" providerId="ADAL" clId="{BB34D448-6975-423B-991B-AA2795354374}" dt="2020-09-24T07:20:09.707" v="2870" actId="164"/>
          <ac:cxnSpMkLst>
            <pc:docMk/>
            <pc:sldMk cId="2936337643" sldId="284"/>
            <ac:cxnSpMk id="30" creationId="{3061C3CB-56C2-4FE3-A5C6-F4ACCDE6D8CD}"/>
          </ac:cxnSpMkLst>
        </pc:cxnChg>
        <pc:cxnChg chg="add mod">
          <ac:chgData name="Thomas Stensitzki" userId="75cafe6b-2f2a-469b-85c4-eec3b9c972ba" providerId="ADAL" clId="{BB34D448-6975-423B-991B-AA2795354374}" dt="2020-09-24T07:21:17.498" v="2877" actId="164"/>
          <ac:cxnSpMkLst>
            <pc:docMk/>
            <pc:sldMk cId="2936337643" sldId="284"/>
            <ac:cxnSpMk id="34" creationId="{515CF7C1-94CE-499C-AFF4-2B15C93C82AB}"/>
          </ac:cxnSpMkLst>
        </pc:cxnChg>
        <pc:cxnChg chg="add mod">
          <ac:chgData name="Thomas Stensitzki" userId="75cafe6b-2f2a-469b-85c4-eec3b9c972ba" providerId="ADAL" clId="{BB34D448-6975-423B-991B-AA2795354374}" dt="2020-09-24T07:46:38.973" v="2964" actId="164"/>
          <ac:cxnSpMkLst>
            <pc:docMk/>
            <pc:sldMk cId="2936337643" sldId="284"/>
            <ac:cxnSpMk id="36" creationId="{40EA7386-57AA-4CE6-9083-B6E1E0773802}"/>
          </ac:cxnSpMkLst>
        </pc:cxnChg>
        <pc:cxnChg chg="add mod">
          <ac:chgData name="Thomas Stensitzki" userId="75cafe6b-2f2a-469b-85c4-eec3b9c972ba" providerId="ADAL" clId="{BB34D448-6975-423B-991B-AA2795354374}" dt="2020-09-24T07:23:07.217" v="2885" actId="164"/>
          <ac:cxnSpMkLst>
            <pc:docMk/>
            <pc:sldMk cId="2936337643" sldId="284"/>
            <ac:cxnSpMk id="38" creationId="{544056BC-2E15-4C6A-9FD2-16CA94515D11}"/>
          </ac:cxnSpMkLst>
        </pc:cxnChg>
        <pc:cxnChg chg="add del mod">
          <ac:chgData name="Thomas Stensitzki" userId="75cafe6b-2f2a-469b-85c4-eec3b9c972ba" providerId="ADAL" clId="{BB34D448-6975-423B-991B-AA2795354374}" dt="2020-09-23T20:31:34.137" v="1936" actId="22"/>
          <ac:cxnSpMkLst>
            <pc:docMk/>
            <pc:sldMk cId="2936337643" sldId="284"/>
            <ac:cxnSpMk id="40" creationId="{2B4033AA-B4C4-4F07-877C-4213B15BE3C2}"/>
          </ac:cxnSpMkLst>
        </pc:cxnChg>
        <pc:cxnChg chg="add mod">
          <ac:chgData name="Thomas Stensitzki" userId="75cafe6b-2f2a-469b-85c4-eec3b9c972ba" providerId="ADAL" clId="{BB34D448-6975-423B-991B-AA2795354374}" dt="2020-09-24T07:20:42.429" v="2872" actId="164"/>
          <ac:cxnSpMkLst>
            <pc:docMk/>
            <pc:sldMk cId="2936337643" sldId="284"/>
            <ac:cxnSpMk id="48" creationId="{AD07A89F-4A20-474C-9327-AE8F18E53289}"/>
          </ac:cxnSpMkLst>
        </pc:cxnChg>
        <pc:cxnChg chg="add mod">
          <ac:chgData name="Thomas Stensitzki" userId="75cafe6b-2f2a-469b-85c4-eec3b9c972ba" providerId="ADAL" clId="{BB34D448-6975-423B-991B-AA2795354374}" dt="2020-09-24T07:22:50.824" v="2883" actId="164"/>
          <ac:cxnSpMkLst>
            <pc:docMk/>
            <pc:sldMk cId="2936337643" sldId="284"/>
            <ac:cxnSpMk id="50" creationId="{5FF8B37E-CE32-4D59-9E11-15FA345F1E9D}"/>
          </ac:cxnSpMkLst>
        </pc:cxnChg>
        <pc:cxnChg chg="add mod">
          <ac:chgData name="Thomas Stensitzki" userId="75cafe6b-2f2a-469b-85c4-eec3b9c972ba" providerId="ADAL" clId="{BB34D448-6975-423B-991B-AA2795354374}" dt="2020-09-24T07:22:50.824" v="2883" actId="164"/>
          <ac:cxnSpMkLst>
            <pc:docMk/>
            <pc:sldMk cId="2936337643" sldId="284"/>
            <ac:cxnSpMk id="54" creationId="{932858A7-F46C-4E13-94B8-FE2F0A2E2F2F}"/>
          </ac:cxnSpMkLst>
        </pc:cxnChg>
        <pc:cxnChg chg="add mod ord">
          <ac:chgData name="Thomas Stensitzki" userId="75cafe6b-2f2a-469b-85c4-eec3b9c972ba" providerId="ADAL" clId="{BB34D448-6975-423B-991B-AA2795354374}" dt="2020-09-24T07:28:05.669" v="2898" actId="164"/>
          <ac:cxnSpMkLst>
            <pc:docMk/>
            <pc:sldMk cId="2936337643" sldId="284"/>
            <ac:cxnSpMk id="60" creationId="{A4E84A29-9DCE-4E35-B6FF-2E0C787EA73A}"/>
          </ac:cxnSpMkLst>
        </pc:cxnChg>
        <pc:cxnChg chg="add mod">
          <ac:chgData name="Thomas Stensitzki" userId="75cafe6b-2f2a-469b-85c4-eec3b9c972ba" providerId="ADAL" clId="{BB34D448-6975-423B-991B-AA2795354374}" dt="2020-09-24T07:28:05.669" v="2898" actId="164"/>
          <ac:cxnSpMkLst>
            <pc:docMk/>
            <pc:sldMk cId="2936337643" sldId="284"/>
            <ac:cxnSpMk id="63" creationId="{F072B984-F7BA-4747-AE80-77D9B26645BF}"/>
          </ac:cxnSpMkLst>
        </pc:cxnChg>
        <pc:cxnChg chg="add mod">
          <ac:chgData name="Thomas Stensitzki" userId="75cafe6b-2f2a-469b-85c4-eec3b9c972ba" providerId="ADAL" clId="{BB34D448-6975-423B-991B-AA2795354374}" dt="2020-09-24T07:43:33.040" v="2957" actId="164"/>
          <ac:cxnSpMkLst>
            <pc:docMk/>
            <pc:sldMk cId="2936337643" sldId="284"/>
            <ac:cxnSpMk id="74" creationId="{E4AB1A04-2889-4E1E-B688-653C1E18E12F}"/>
          </ac:cxnSpMkLst>
        </pc:cxnChg>
        <pc:cxnChg chg="add mod">
          <ac:chgData name="Thomas Stensitzki" userId="75cafe6b-2f2a-469b-85c4-eec3b9c972ba" providerId="ADAL" clId="{BB34D448-6975-423B-991B-AA2795354374}" dt="2020-09-24T07:43:54.957" v="2959" actId="164"/>
          <ac:cxnSpMkLst>
            <pc:docMk/>
            <pc:sldMk cId="2936337643" sldId="284"/>
            <ac:cxnSpMk id="80" creationId="{0CBE33D9-3FB7-4717-982D-3A091B7FB3BC}"/>
          </ac:cxnSpMkLst>
        </pc:cxnChg>
        <pc:cxnChg chg="add mod">
          <ac:chgData name="Thomas Stensitzki" userId="75cafe6b-2f2a-469b-85c4-eec3b9c972ba" providerId="ADAL" clId="{BB34D448-6975-423B-991B-AA2795354374}" dt="2020-09-23T22:23:29.884" v="2748" actId="14100"/>
          <ac:cxnSpMkLst>
            <pc:docMk/>
            <pc:sldMk cId="2936337643" sldId="284"/>
            <ac:cxnSpMk id="88" creationId="{4945F103-4D75-4E69-9BA1-F23E51723AD8}"/>
          </ac:cxnSpMkLst>
        </pc:cxnChg>
        <pc:cxnChg chg="add mod">
          <ac:chgData name="Thomas Stensitzki" userId="75cafe6b-2f2a-469b-85c4-eec3b9c972ba" providerId="ADAL" clId="{BB34D448-6975-423B-991B-AA2795354374}" dt="2020-09-24T07:20:42.429" v="2872" actId="164"/>
          <ac:cxnSpMkLst>
            <pc:docMk/>
            <pc:sldMk cId="2936337643" sldId="284"/>
            <ac:cxnSpMk id="94" creationId="{9AFB4824-BB54-4039-87DF-CA15EC042550}"/>
          </ac:cxnSpMkLst>
        </pc:cxnChg>
        <pc:cxnChg chg="add mod">
          <ac:chgData name="Thomas Stensitzki" userId="75cafe6b-2f2a-469b-85c4-eec3b9c972ba" providerId="ADAL" clId="{BB34D448-6975-423B-991B-AA2795354374}" dt="2020-09-24T07:22:50.824" v="2883" actId="164"/>
          <ac:cxnSpMkLst>
            <pc:docMk/>
            <pc:sldMk cId="2936337643" sldId="284"/>
            <ac:cxnSpMk id="98" creationId="{806B3B99-D0F5-41EE-9106-37C5802DA964}"/>
          </ac:cxnSpMkLst>
        </pc:cxnChg>
        <pc:cxnChg chg="add mod">
          <ac:chgData name="Thomas Stensitzki" userId="75cafe6b-2f2a-469b-85c4-eec3b9c972ba" providerId="ADAL" clId="{BB34D448-6975-423B-991B-AA2795354374}" dt="2020-09-24T07:28:05.669" v="2898" actId="164"/>
          <ac:cxnSpMkLst>
            <pc:docMk/>
            <pc:sldMk cId="2936337643" sldId="284"/>
            <ac:cxnSpMk id="100" creationId="{4169C108-EE1C-4838-AE5B-8A524319A904}"/>
          </ac:cxnSpMkLst>
        </pc:cxnChg>
      </pc:sldChg>
    </pc:docChg>
  </pc:docChgLst>
  <pc:docChgLst>
    <pc:chgData name="Thomas Stensitzki" userId="75cafe6b-2f2a-469b-85c4-eec3b9c972ba" providerId="ADAL" clId="{3E4664DC-01C0-4523-8864-A6B145F3F34B}"/>
    <pc:docChg chg="delSld modSld modSection">
      <pc:chgData name="Thomas Stensitzki" userId="75cafe6b-2f2a-469b-85c4-eec3b9c972ba" providerId="ADAL" clId="{3E4664DC-01C0-4523-8864-A6B145F3F34B}" dt="2020-04-29T06:25:46.604" v="269" actId="20577"/>
      <pc:docMkLst>
        <pc:docMk/>
      </pc:docMkLst>
      <pc:sldChg chg="modSp mod">
        <pc:chgData name="Thomas Stensitzki" userId="75cafe6b-2f2a-469b-85c4-eec3b9c972ba" providerId="ADAL" clId="{3E4664DC-01C0-4523-8864-A6B145F3F34B}" dt="2020-04-29T06:24:11.684" v="120" actId="20577"/>
        <pc:sldMkLst>
          <pc:docMk/>
          <pc:sldMk cId="1331178014" sldId="256"/>
        </pc:sldMkLst>
        <pc:spChg chg="mod">
          <ac:chgData name="Thomas Stensitzki" userId="75cafe6b-2f2a-469b-85c4-eec3b9c972ba" providerId="ADAL" clId="{3E4664DC-01C0-4523-8864-A6B145F3F34B}" dt="2020-04-29T06:24:11.684" v="120" actId="20577"/>
          <ac:spMkLst>
            <pc:docMk/>
            <pc:sldMk cId="1331178014" sldId="256"/>
            <ac:spMk id="2" creationId="{E137B2CB-D047-404D-B8CC-C662AA78F69E}"/>
          </ac:spMkLst>
        </pc:spChg>
        <pc:spChg chg="mod">
          <ac:chgData name="Thomas Stensitzki" userId="75cafe6b-2f2a-469b-85c4-eec3b9c972ba" providerId="ADAL" clId="{3E4664DC-01C0-4523-8864-A6B145F3F34B}" dt="2020-04-29T06:23:33.532" v="57" actId="6549"/>
          <ac:spMkLst>
            <pc:docMk/>
            <pc:sldMk cId="1331178014" sldId="256"/>
            <ac:spMk id="3" creationId="{FD1EE5AE-531F-46B2-BC77-BEC77D90CE70}"/>
          </ac:spMkLst>
        </pc:spChg>
      </pc:sldChg>
      <pc:sldChg chg="addSp modSp mod">
        <pc:chgData name="Thomas Stensitzki" userId="75cafe6b-2f2a-469b-85c4-eec3b9c972ba" providerId="ADAL" clId="{3E4664DC-01C0-4523-8864-A6B145F3F34B}" dt="2020-04-16T09:14:10.170" v="55" actId="1076"/>
        <pc:sldMkLst>
          <pc:docMk/>
          <pc:sldMk cId="2213403937" sldId="259"/>
        </pc:sldMkLst>
        <pc:spChg chg="add mod">
          <ac:chgData name="Thomas Stensitzki" userId="75cafe6b-2f2a-469b-85c4-eec3b9c972ba" providerId="ADAL" clId="{3E4664DC-01C0-4523-8864-A6B145F3F34B}" dt="2020-04-16T09:14:10.170" v="55" actId="1076"/>
          <ac:spMkLst>
            <pc:docMk/>
            <pc:sldMk cId="2213403937" sldId="259"/>
            <ac:spMk id="3" creationId="{929F043B-C787-47A9-8373-4D8587EE4FEA}"/>
          </ac:spMkLst>
        </pc:spChg>
        <pc:picChg chg="mod">
          <ac:chgData name="Thomas Stensitzki" userId="75cafe6b-2f2a-469b-85c4-eec3b9c972ba" providerId="ADAL" clId="{3E4664DC-01C0-4523-8864-A6B145F3F34B}" dt="2020-04-16T09:11:52.937" v="0" actId="1076"/>
          <ac:picMkLst>
            <pc:docMk/>
            <pc:sldMk cId="2213403937" sldId="259"/>
            <ac:picMk id="5" creationId="{004ACF09-AB06-4467-90D9-731D6CFF0636}"/>
          </ac:picMkLst>
        </pc:picChg>
      </pc:sldChg>
      <pc:sldChg chg="modSp mod">
        <pc:chgData name="Thomas Stensitzki" userId="75cafe6b-2f2a-469b-85c4-eec3b9c972ba" providerId="ADAL" clId="{3E4664DC-01C0-4523-8864-A6B145F3F34B}" dt="2020-04-29T06:24:31.262" v="122" actId="6549"/>
        <pc:sldMkLst>
          <pc:docMk/>
          <pc:sldMk cId="2987849416" sldId="261"/>
        </pc:sldMkLst>
        <pc:spChg chg="mod">
          <ac:chgData name="Thomas Stensitzki" userId="75cafe6b-2f2a-469b-85c4-eec3b9c972ba" providerId="ADAL" clId="{3E4664DC-01C0-4523-8864-A6B145F3F34B}" dt="2020-04-29T06:24:31.262" v="122" actId="6549"/>
          <ac:spMkLst>
            <pc:docMk/>
            <pc:sldMk cId="2987849416" sldId="261"/>
            <ac:spMk id="3" creationId="{00000000-0000-0000-0000-000000000000}"/>
          </ac:spMkLst>
        </pc:spChg>
      </pc:sldChg>
      <pc:sldChg chg="modSp mod">
        <pc:chgData name="Thomas Stensitzki" userId="75cafe6b-2f2a-469b-85c4-eec3b9c972ba" providerId="ADAL" clId="{3E4664DC-01C0-4523-8864-A6B145F3F34B}" dt="2020-04-29T06:25:46.604" v="269" actId="20577"/>
        <pc:sldMkLst>
          <pc:docMk/>
          <pc:sldMk cId="2223191929" sldId="262"/>
        </pc:sldMkLst>
        <pc:spChg chg="mod">
          <ac:chgData name="Thomas Stensitzki" userId="75cafe6b-2f2a-469b-85c4-eec3b9c972ba" providerId="ADAL" clId="{3E4664DC-01C0-4523-8864-A6B145F3F34B}" dt="2020-04-29T06:25:46.604" v="269" actId="20577"/>
          <ac:spMkLst>
            <pc:docMk/>
            <pc:sldMk cId="2223191929" sldId="262"/>
            <ac:spMk id="4" creationId="{70E8EAA7-76C4-4D2B-81CE-57CA4627D39E}"/>
          </ac:spMkLst>
        </pc:spChg>
        <pc:spChg chg="mod">
          <ac:chgData name="Thomas Stensitzki" userId="75cafe6b-2f2a-469b-85c4-eec3b9c972ba" providerId="ADAL" clId="{3E4664DC-01C0-4523-8864-A6B145F3F34B}" dt="2020-04-29T06:25:36.714" v="267" actId="20577"/>
          <ac:spMkLst>
            <pc:docMk/>
            <pc:sldMk cId="2223191929" sldId="262"/>
            <ac:spMk id="5" creationId="{94140262-613E-47E0-8110-F2C2EDE2EFD9}"/>
          </ac:spMkLst>
        </pc:spChg>
      </pc:sldChg>
      <pc:sldChg chg="del">
        <pc:chgData name="Thomas Stensitzki" userId="75cafe6b-2f2a-469b-85c4-eec3b9c972ba" providerId="ADAL" clId="{3E4664DC-01C0-4523-8864-A6B145F3F34B}" dt="2020-04-29T06:24:24.246" v="121" actId="47"/>
        <pc:sldMkLst>
          <pc:docMk/>
          <pc:sldMk cId="2878057155" sldId="263"/>
        </pc:sldMkLst>
      </pc:sldChg>
      <pc:sldChg chg="del">
        <pc:chgData name="Thomas Stensitzki" userId="75cafe6b-2f2a-469b-85c4-eec3b9c972ba" providerId="ADAL" clId="{3E4664DC-01C0-4523-8864-A6B145F3F34B}" dt="2020-04-29T06:24:24.246" v="121" actId="47"/>
        <pc:sldMkLst>
          <pc:docMk/>
          <pc:sldMk cId="41381501" sldId="276"/>
        </pc:sldMkLst>
      </pc:sldChg>
      <pc:sldChg chg="del">
        <pc:chgData name="Thomas Stensitzki" userId="75cafe6b-2f2a-469b-85c4-eec3b9c972ba" providerId="ADAL" clId="{3E4664DC-01C0-4523-8864-A6B145F3F34B}" dt="2020-04-29T06:24:24.246" v="121" actId="47"/>
        <pc:sldMkLst>
          <pc:docMk/>
          <pc:sldMk cId="828951719" sldId="277"/>
        </pc:sldMkLst>
      </pc:sldChg>
      <pc:sldChg chg="del">
        <pc:chgData name="Thomas Stensitzki" userId="75cafe6b-2f2a-469b-85c4-eec3b9c972ba" providerId="ADAL" clId="{3E4664DC-01C0-4523-8864-A6B145F3F34B}" dt="2020-04-29T06:24:24.246" v="121" actId="47"/>
        <pc:sldMkLst>
          <pc:docMk/>
          <pc:sldMk cId="2175066327" sldId="278"/>
        </pc:sldMkLst>
      </pc:sldChg>
      <pc:sldChg chg="del">
        <pc:chgData name="Thomas Stensitzki" userId="75cafe6b-2f2a-469b-85c4-eec3b9c972ba" providerId="ADAL" clId="{3E4664DC-01C0-4523-8864-A6B145F3F34B}" dt="2020-04-29T06:24:24.246" v="121" actId="47"/>
        <pc:sldMkLst>
          <pc:docMk/>
          <pc:sldMk cId="2492806233" sldId="279"/>
        </pc:sldMkLst>
      </pc:sldChg>
      <pc:sldChg chg="del">
        <pc:chgData name="Thomas Stensitzki" userId="75cafe6b-2f2a-469b-85c4-eec3b9c972ba" providerId="ADAL" clId="{3E4664DC-01C0-4523-8864-A6B145F3F34B}" dt="2020-04-29T06:24:24.246" v="121" actId="47"/>
        <pc:sldMkLst>
          <pc:docMk/>
          <pc:sldMk cId="2480661589" sldId="280"/>
        </pc:sldMkLst>
      </pc:sldChg>
      <pc:sldChg chg="del">
        <pc:chgData name="Thomas Stensitzki" userId="75cafe6b-2f2a-469b-85c4-eec3b9c972ba" providerId="ADAL" clId="{3E4664DC-01C0-4523-8864-A6B145F3F34B}" dt="2020-04-29T06:24:24.246" v="121" actId="47"/>
        <pc:sldMkLst>
          <pc:docMk/>
          <pc:sldMk cId="2545093358" sldId="281"/>
        </pc:sldMkLst>
      </pc:sldChg>
      <pc:sldChg chg="del">
        <pc:chgData name="Thomas Stensitzki" userId="75cafe6b-2f2a-469b-85c4-eec3b9c972ba" providerId="ADAL" clId="{3E4664DC-01C0-4523-8864-A6B145F3F34B}" dt="2020-04-29T06:24:24.246" v="121" actId="47"/>
        <pc:sldMkLst>
          <pc:docMk/>
          <pc:sldMk cId="1883776818" sldId="282"/>
        </pc:sldMkLst>
      </pc:sldChg>
      <pc:sldChg chg="del">
        <pc:chgData name="Thomas Stensitzki" userId="75cafe6b-2f2a-469b-85c4-eec3b9c972ba" providerId="ADAL" clId="{3E4664DC-01C0-4523-8864-A6B145F3F34B}" dt="2020-04-29T06:24:24.246" v="121" actId="47"/>
        <pc:sldMkLst>
          <pc:docMk/>
          <pc:sldMk cId="2019584509" sldId="283"/>
        </pc:sldMkLst>
      </pc:sldChg>
      <pc:sldChg chg="del">
        <pc:chgData name="Thomas Stensitzki" userId="75cafe6b-2f2a-469b-85c4-eec3b9c972ba" providerId="ADAL" clId="{3E4664DC-01C0-4523-8864-A6B145F3F34B}" dt="2020-04-29T06:24:24.246" v="121" actId="47"/>
        <pc:sldMkLst>
          <pc:docMk/>
          <pc:sldMk cId="355652986" sldId="284"/>
        </pc:sldMkLst>
      </pc:sldChg>
      <pc:sldChg chg="del">
        <pc:chgData name="Thomas Stensitzki" userId="75cafe6b-2f2a-469b-85c4-eec3b9c972ba" providerId="ADAL" clId="{3E4664DC-01C0-4523-8864-A6B145F3F34B}" dt="2020-04-29T06:24:24.246" v="121" actId="47"/>
        <pc:sldMkLst>
          <pc:docMk/>
          <pc:sldMk cId="1446810967" sldId="285"/>
        </pc:sldMkLst>
      </pc:sldChg>
    </pc:docChg>
  </pc:docChgLst>
  <pc:docChgLst>
    <pc:chgData name="Thomas Stensitzki" userId="75cafe6b-2f2a-469b-85c4-eec3b9c972ba" providerId="ADAL" clId="{D749F68F-3C37-4EAF-8B4D-F1B70F3C9AD9}"/>
    <pc:docChg chg="undo custSel addSld delSld modSld modSection">
      <pc:chgData name="Thomas Stensitzki" userId="75cafe6b-2f2a-469b-85c4-eec3b9c972ba" providerId="ADAL" clId="{D749F68F-3C37-4EAF-8B4D-F1B70F3C9AD9}" dt="2021-07-04T14:53:31.221" v="522"/>
      <pc:docMkLst>
        <pc:docMk/>
      </pc:docMkLst>
      <pc:sldChg chg="modSp mod">
        <pc:chgData name="Thomas Stensitzki" userId="75cafe6b-2f2a-469b-85c4-eec3b9c972ba" providerId="ADAL" clId="{D749F68F-3C37-4EAF-8B4D-F1B70F3C9AD9}" dt="2021-07-04T14:48:29.271" v="429" actId="1035"/>
        <pc:sldMkLst>
          <pc:docMk/>
          <pc:sldMk cId="1331178014" sldId="256"/>
        </pc:sldMkLst>
        <pc:spChg chg="mod">
          <ac:chgData name="Thomas Stensitzki" userId="75cafe6b-2f2a-469b-85c4-eec3b9c972ba" providerId="ADAL" clId="{D749F68F-3C37-4EAF-8B4D-F1B70F3C9AD9}" dt="2021-07-04T09:43:19.650" v="36" actId="6549"/>
          <ac:spMkLst>
            <pc:docMk/>
            <pc:sldMk cId="1331178014" sldId="256"/>
            <ac:spMk id="2" creationId="{E137B2CB-D047-404D-B8CC-C662AA78F69E}"/>
          </ac:spMkLst>
        </pc:spChg>
        <pc:spChg chg="mod">
          <ac:chgData name="Thomas Stensitzki" userId="75cafe6b-2f2a-469b-85c4-eec3b9c972ba" providerId="ADAL" clId="{D749F68F-3C37-4EAF-8B4D-F1B70F3C9AD9}" dt="2021-07-04T14:48:29.271" v="429" actId="1035"/>
          <ac:spMkLst>
            <pc:docMk/>
            <pc:sldMk cId="1331178014" sldId="256"/>
            <ac:spMk id="3" creationId="{FD1EE5AE-531F-46B2-BC77-BEC77D90CE70}"/>
          </ac:spMkLst>
        </pc:spChg>
      </pc:sldChg>
      <pc:sldChg chg="modSp mod">
        <pc:chgData name="Thomas Stensitzki" userId="75cafe6b-2f2a-469b-85c4-eec3b9c972ba" providerId="ADAL" clId="{D749F68F-3C37-4EAF-8B4D-F1B70F3C9AD9}" dt="2021-07-04T09:44:15.961" v="70" actId="20577"/>
        <pc:sldMkLst>
          <pc:docMk/>
          <pc:sldMk cId="1916615734" sldId="274"/>
        </pc:sldMkLst>
        <pc:spChg chg="mod">
          <ac:chgData name="Thomas Stensitzki" userId="75cafe6b-2f2a-469b-85c4-eec3b9c972ba" providerId="ADAL" clId="{D749F68F-3C37-4EAF-8B4D-F1B70F3C9AD9}" dt="2021-07-04T09:44:15.961" v="70" actId="20577"/>
          <ac:spMkLst>
            <pc:docMk/>
            <pc:sldMk cId="1916615734" sldId="274"/>
            <ac:spMk id="4" creationId="{70E8EAA7-76C4-4D2B-81CE-57CA4627D39E}"/>
          </ac:spMkLst>
        </pc:spChg>
        <pc:spChg chg="mod">
          <ac:chgData name="Thomas Stensitzki" userId="75cafe6b-2f2a-469b-85c4-eec3b9c972ba" providerId="ADAL" clId="{D749F68F-3C37-4EAF-8B4D-F1B70F3C9AD9}" dt="2021-07-04T09:44:09.679" v="52" actId="6549"/>
          <ac:spMkLst>
            <pc:docMk/>
            <pc:sldMk cId="1916615734" sldId="274"/>
            <ac:spMk id="5" creationId="{94140262-613E-47E0-8110-F2C2EDE2EFD9}"/>
          </ac:spMkLst>
        </pc:spChg>
      </pc:sldChg>
      <pc:sldChg chg="del">
        <pc:chgData name="Thomas Stensitzki" userId="75cafe6b-2f2a-469b-85c4-eec3b9c972ba" providerId="ADAL" clId="{D749F68F-3C37-4EAF-8B4D-F1B70F3C9AD9}" dt="2021-07-04T09:44:32.125" v="72" actId="47"/>
        <pc:sldMkLst>
          <pc:docMk/>
          <pc:sldMk cId="3800306062" sldId="275"/>
        </pc:sldMkLst>
      </pc:sldChg>
      <pc:sldChg chg="del">
        <pc:chgData name="Thomas Stensitzki" userId="75cafe6b-2f2a-469b-85c4-eec3b9c972ba" providerId="ADAL" clId="{D749F68F-3C37-4EAF-8B4D-F1B70F3C9AD9}" dt="2021-07-04T09:44:34.340" v="73" actId="47"/>
        <pc:sldMkLst>
          <pc:docMk/>
          <pc:sldMk cId="2469256109" sldId="280"/>
        </pc:sldMkLst>
      </pc:sldChg>
      <pc:sldChg chg="modSp mod">
        <pc:chgData name="Thomas Stensitzki" userId="75cafe6b-2f2a-469b-85c4-eec3b9c972ba" providerId="ADAL" clId="{D749F68F-3C37-4EAF-8B4D-F1B70F3C9AD9}" dt="2021-07-04T09:44:23.216" v="71" actId="6549"/>
        <pc:sldMkLst>
          <pc:docMk/>
          <pc:sldMk cId="1179876429" sldId="284"/>
        </pc:sldMkLst>
        <pc:spChg chg="mod">
          <ac:chgData name="Thomas Stensitzki" userId="75cafe6b-2f2a-469b-85c4-eec3b9c972ba" providerId="ADAL" clId="{D749F68F-3C37-4EAF-8B4D-F1B70F3C9AD9}" dt="2021-07-04T09:44:23.216" v="71" actId="6549"/>
          <ac:spMkLst>
            <pc:docMk/>
            <pc:sldMk cId="1179876429" sldId="284"/>
            <ac:spMk id="5" creationId="{2C7B6130-37E3-4B24-9849-0A8346D42A5F}"/>
          </ac:spMkLst>
        </pc:spChg>
      </pc:sldChg>
      <pc:sldChg chg="addSp modSp mod modAnim">
        <pc:chgData name="Thomas Stensitzki" userId="75cafe6b-2f2a-469b-85c4-eec3b9c972ba" providerId="ADAL" clId="{D749F68F-3C37-4EAF-8B4D-F1B70F3C9AD9}" dt="2021-07-04T10:15:12.856" v="281"/>
        <pc:sldMkLst>
          <pc:docMk/>
          <pc:sldMk cId="3443800143" sldId="285"/>
        </pc:sldMkLst>
        <pc:spChg chg="mod">
          <ac:chgData name="Thomas Stensitzki" userId="75cafe6b-2f2a-469b-85c4-eec3b9c972ba" providerId="ADAL" clId="{D749F68F-3C37-4EAF-8B4D-F1B70F3C9AD9}" dt="2021-07-04T09:51:49.270" v="92" actId="20577"/>
          <ac:spMkLst>
            <pc:docMk/>
            <pc:sldMk cId="3443800143" sldId="285"/>
            <ac:spMk id="4" creationId="{1B8964DA-2335-416F-BBBE-29EA00AE6E94}"/>
          </ac:spMkLst>
        </pc:spChg>
        <pc:spChg chg="mod">
          <ac:chgData name="Thomas Stensitzki" userId="75cafe6b-2f2a-469b-85c4-eec3b9c972ba" providerId="ADAL" clId="{D749F68F-3C37-4EAF-8B4D-F1B70F3C9AD9}" dt="2021-07-04T10:14:00.466" v="274" actId="20577"/>
          <ac:spMkLst>
            <pc:docMk/>
            <pc:sldMk cId="3443800143" sldId="285"/>
            <ac:spMk id="5" creationId="{DCF7A5B9-E28B-42E4-9DC3-95FA062D9B40}"/>
          </ac:spMkLst>
        </pc:spChg>
        <pc:picChg chg="add mod">
          <ac:chgData name="Thomas Stensitzki" userId="75cafe6b-2f2a-469b-85c4-eec3b9c972ba" providerId="ADAL" clId="{D749F68F-3C37-4EAF-8B4D-F1B70F3C9AD9}" dt="2021-07-04T10:14:30.525" v="276" actId="1076"/>
          <ac:picMkLst>
            <pc:docMk/>
            <pc:sldMk cId="3443800143" sldId="285"/>
            <ac:picMk id="6" creationId="{7D64A7E2-EEA2-4804-8944-D345732DD306}"/>
          </ac:picMkLst>
        </pc:picChg>
      </pc:sldChg>
      <pc:sldChg chg="addSp delSp modSp new mod modClrScheme chgLayout">
        <pc:chgData name="Thomas Stensitzki" userId="75cafe6b-2f2a-469b-85c4-eec3b9c972ba" providerId="ADAL" clId="{D749F68F-3C37-4EAF-8B4D-F1B70F3C9AD9}" dt="2021-07-04T10:12:58.363" v="243" actId="20577"/>
        <pc:sldMkLst>
          <pc:docMk/>
          <pc:sldMk cId="2141693400" sldId="286"/>
        </pc:sldMkLst>
        <pc:spChg chg="del mod ord">
          <ac:chgData name="Thomas Stensitzki" userId="75cafe6b-2f2a-469b-85c4-eec3b9c972ba" providerId="ADAL" clId="{D749F68F-3C37-4EAF-8B4D-F1B70F3C9AD9}" dt="2021-07-04T10:12:53.069" v="233" actId="700"/>
          <ac:spMkLst>
            <pc:docMk/>
            <pc:sldMk cId="2141693400" sldId="286"/>
            <ac:spMk id="2" creationId="{DC467A79-7E6D-4C03-A293-9C50E66301C2}"/>
          </ac:spMkLst>
        </pc:spChg>
        <pc:spChg chg="del mod ord">
          <ac:chgData name="Thomas Stensitzki" userId="75cafe6b-2f2a-469b-85c4-eec3b9c972ba" providerId="ADAL" clId="{D749F68F-3C37-4EAF-8B4D-F1B70F3C9AD9}" dt="2021-07-04T10:12:53.069" v="233" actId="700"/>
          <ac:spMkLst>
            <pc:docMk/>
            <pc:sldMk cId="2141693400" sldId="286"/>
            <ac:spMk id="3" creationId="{93EBDE89-2BE5-40AE-B052-810D6E891169}"/>
          </ac:spMkLst>
        </pc:spChg>
        <pc:spChg chg="add mod ord">
          <ac:chgData name="Thomas Stensitzki" userId="75cafe6b-2f2a-469b-85c4-eec3b9c972ba" providerId="ADAL" clId="{D749F68F-3C37-4EAF-8B4D-F1B70F3C9AD9}" dt="2021-07-04T10:12:58.363" v="243" actId="20577"/>
          <ac:spMkLst>
            <pc:docMk/>
            <pc:sldMk cId="2141693400" sldId="286"/>
            <ac:spMk id="4" creationId="{B0B056B3-089B-4D83-87D9-ABD5D15FF05A}"/>
          </ac:spMkLst>
        </pc:spChg>
        <pc:spChg chg="add mod ord">
          <ac:chgData name="Thomas Stensitzki" userId="75cafe6b-2f2a-469b-85c4-eec3b9c972ba" providerId="ADAL" clId="{D749F68F-3C37-4EAF-8B4D-F1B70F3C9AD9}" dt="2021-07-04T10:12:53.069" v="233" actId="700"/>
          <ac:spMkLst>
            <pc:docMk/>
            <pc:sldMk cId="2141693400" sldId="286"/>
            <ac:spMk id="5" creationId="{84334C56-E21D-4F65-A8F6-7020F9AB8298}"/>
          </ac:spMkLst>
        </pc:spChg>
      </pc:sldChg>
      <pc:sldChg chg="del">
        <pc:chgData name="Thomas Stensitzki" userId="75cafe6b-2f2a-469b-85c4-eec3b9c972ba" providerId="ADAL" clId="{D749F68F-3C37-4EAF-8B4D-F1B70F3C9AD9}" dt="2021-07-04T09:44:32.125" v="72" actId="47"/>
        <pc:sldMkLst>
          <pc:docMk/>
          <pc:sldMk cId="2936337643" sldId="286"/>
        </pc:sldMkLst>
      </pc:sldChg>
      <pc:sldChg chg="del">
        <pc:chgData name="Thomas Stensitzki" userId="75cafe6b-2f2a-469b-85c4-eec3b9c972ba" providerId="ADAL" clId="{D749F68F-3C37-4EAF-8B4D-F1B70F3C9AD9}" dt="2021-07-04T09:44:32.125" v="72" actId="47"/>
        <pc:sldMkLst>
          <pc:docMk/>
          <pc:sldMk cId="1668825389" sldId="287"/>
        </pc:sldMkLst>
      </pc:sldChg>
      <pc:sldChg chg="addSp delSp modSp new mod delAnim modAnim">
        <pc:chgData name="Thomas Stensitzki" userId="75cafe6b-2f2a-469b-85c4-eec3b9c972ba" providerId="ADAL" clId="{D749F68F-3C37-4EAF-8B4D-F1B70F3C9AD9}" dt="2021-07-04T14:53:31.221" v="522"/>
        <pc:sldMkLst>
          <pc:docMk/>
          <pc:sldMk cId="2681039432" sldId="287"/>
        </pc:sldMkLst>
        <pc:spChg chg="mod">
          <ac:chgData name="Thomas Stensitzki" userId="75cafe6b-2f2a-469b-85c4-eec3b9c972ba" providerId="ADAL" clId="{D749F68F-3C37-4EAF-8B4D-F1B70F3C9AD9}" dt="2021-07-04T10:16:10.981" v="326" actId="20577"/>
          <ac:spMkLst>
            <pc:docMk/>
            <pc:sldMk cId="2681039432" sldId="287"/>
            <ac:spMk id="2" creationId="{65BA49A5-B44A-4000-934E-A13FFEB7D4F7}"/>
          </ac:spMkLst>
        </pc:spChg>
        <pc:spChg chg="del">
          <ac:chgData name="Thomas Stensitzki" userId="75cafe6b-2f2a-469b-85c4-eec3b9c972ba" providerId="ADAL" clId="{D749F68F-3C37-4EAF-8B4D-F1B70F3C9AD9}" dt="2021-07-04T10:16:16.630" v="327" actId="478"/>
          <ac:spMkLst>
            <pc:docMk/>
            <pc:sldMk cId="2681039432" sldId="287"/>
            <ac:spMk id="3" creationId="{168436D2-DBB4-44F6-AA96-8C49ACDAF83C}"/>
          </ac:spMkLst>
        </pc:spChg>
        <pc:graphicFrameChg chg="add mod modGraphic">
          <ac:chgData name="Thomas Stensitzki" userId="75cafe6b-2f2a-469b-85c4-eec3b9c972ba" providerId="ADAL" clId="{D749F68F-3C37-4EAF-8B4D-F1B70F3C9AD9}" dt="2021-07-04T10:16:33.094" v="329" actId="14100"/>
          <ac:graphicFrameMkLst>
            <pc:docMk/>
            <pc:sldMk cId="2681039432" sldId="287"/>
            <ac:graphicFrameMk id="4" creationId="{60A43305-8024-4DDA-8679-6E2B4156300A}"/>
          </ac:graphicFrameMkLst>
        </pc:graphicFrameChg>
        <pc:picChg chg="add del mod">
          <ac:chgData name="Thomas Stensitzki" userId="75cafe6b-2f2a-469b-85c4-eec3b9c972ba" providerId="ADAL" clId="{D749F68F-3C37-4EAF-8B4D-F1B70F3C9AD9}" dt="2021-07-04T14:52:49.299" v="480" actId="478"/>
          <ac:picMkLst>
            <pc:docMk/>
            <pc:sldMk cId="2681039432" sldId="287"/>
            <ac:picMk id="5" creationId="{B2571AA1-F0A2-48C6-B51D-862A2A8F4E24}"/>
          </ac:picMkLst>
        </pc:picChg>
        <pc:picChg chg="add mod">
          <ac:chgData name="Thomas Stensitzki" userId="75cafe6b-2f2a-469b-85c4-eec3b9c972ba" providerId="ADAL" clId="{D749F68F-3C37-4EAF-8B4D-F1B70F3C9AD9}" dt="2021-07-04T10:16:27.970" v="328"/>
          <ac:picMkLst>
            <pc:docMk/>
            <pc:sldMk cId="2681039432" sldId="287"/>
            <ac:picMk id="6" creationId="{837D565E-E3DF-4DE0-81F3-0E14F36AC226}"/>
          </ac:picMkLst>
        </pc:picChg>
        <pc:picChg chg="add mod">
          <ac:chgData name="Thomas Stensitzki" userId="75cafe6b-2f2a-469b-85c4-eec3b9c972ba" providerId="ADAL" clId="{D749F68F-3C37-4EAF-8B4D-F1B70F3C9AD9}" dt="2021-07-04T10:16:27.970" v="328"/>
          <ac:picMkLst>
            <pc:docMk/>
            <pc:sldMk cId="2681039432" sldId="287"/>
            <ac:picMk id="7" creationId="{7DBD4903-F96A-446D-BD42-AAEEB2FFC4C0}"/>
          </ac:picMkLst>
        </pc:picChg>
        <pc:picChg chg="add mod">
          <ac:chgData name="Thomas Stensitzki" userId="75cafe6b-2f2a-469b-85c4-eec3b9c972ba" providerId="ADAL" clId="{D749F68F-3C37-4EAF-8B4D-F1B70F3C9AD9}" dt="2021-07-04T10:16:27.970" v="328"/>
          <ac:picMkLst>
            <pc:docMk/>
            <pc:sldMk cId="2681039432" sldId="287"/>
            <ac:picMk id="8" creationId="{C0E34276-EC66-4AB4-BFF9-662C78E44225}"/>
          </ac:picMkLst>
        </pc:picChg>
        <pc:picChg chg="add mod">
          <ac:chgData name="Thomas Stensitzki" userId="75cafe6b-2f2a-469b-85c4-eec3b9c972ba" providerId="ADAL" clId="{D749F68F-3C37-4EAF-8B4D-F1B70F3C9AD9}" dt="2021-07-04T10:16:27.970" v="328"/>
          <ac:picMkLst>
            <pc:docMk/>
            <pc:sldMk cId="2681039432" sldId="287"/>
            <ac:picMk id="9" creationId="{1CD61922-279A-4F14-8E0D-C4C0239ABD7E}"/>
          </ac:picMkLst>
        </pc:picChg>
        <pc:picChg chg="add mod">
          <ac:chgData name="Thomas Stensitzki" userId="75cafe6b-2f2a-469b-85c4-eec3b9c972ba" providerId="ADAL" clId="{D749F68F-3C37-4EAF-8B4D-F1B70F3C9AD9}" dt="2021-07-04T14:53:21.021" v="520" actId="1076"/>
          <ac:picMkLst>
            <pc:docMk/>
            <pc:sldMk cId="2681039432" sldId="287"/>
            <ac:picMk id="11" creationId="{C0ACBA72-0BFA-45ED-873F-FABC09818C68}"/>
          </ac:picMkLst>
        </pc:picChg>
      </pc:sldChg>
      <pc:sldChg chg="addSp delSp modSp new mod modClrScheme chgLayout">
        <pc:chgData name="Thomas Stensitzki" userId="75cafe6b-2f2a-469b-85c4-eec3b9c972ba" providerId="ADAL" clId="{D749F68F-3C37-4EAF-8B4D-F1B70F3C9AD9}" dt="2021-07-04T14:49:40.131" v="473" actId="20577"/>
        <pc:sldMkLst>
          <pc:docMk/>
          <pc:sldMk cId="3403718045" sldId="288"/>
        </pc:sldMkLst>
        <pc:spChg chg="del mod ord">
          <ac:chgData name="Thomas Stensitzki" userId="75cafe6b-2f2a-469b-85c4-eec3b9c972ba" providerId="ADAL" clId="{D749F68F-3C37-4EAF-8B4D-F1B70F3C9AD9}" dt="2021-07-04T10:17:08.180" v="331" actId="700"/>
          <ac:spMkLst>
            <pc:docMk/>
            <pc:sldMk cId="3403718045" sldId="288"/>
            <ac:spMk id="2" creationId="{1DA3DA45-7704-439D-9CBD-FA293D5648DD}"/>
          </ac:spMkLst>
        </pc:spChg>
        <pc:spChg chg="del mod ord">
          <ac:chgData name="Thomas Stensitzki" userId="75cafe6b-2f2a-469b-85c4-eec3b9c972ba" providerId="ADAL" clId="{D749F68F-3C37-4EAF-8B4D-F1B70F3C9AD9}" dt="2021-07-04T10:17:08.180" v="331" actId="700"/>
          <ac:spMkLst>
            <pc:docMk/>
            <pc:sldMk cId="3403718045" sldId="288"/>
            <ac:spMk id="3" creationId="{D234EEBF-AD8E-4337-8F5F-7A1E01DACF44}"/>
          </ac:spMkLst>
        </pc:spChg>
        <pc:spChg chg="add mod ord">
          <ac:chgData name="Thomas Stensitzki" userId="75cafe6b-2f2a-469b-85c4-eec3b9c972ba" providerId="ADAL" clId="{D749F68F-3C37-4EAF-8B4D-F1B70F3C9AD9}" dt="2021-07-04T10:17:27.810" v="367" actId="20577"/>
          <ac:spMkLst>
            <pc:docMk/>
            <pc:sldMk cId="3403718045" sldId="288"/>
            <ac:spMk id="4" creationId="{1790E43B-2BD3-4C23-9EAF-9D9285B41E47}"/>
          </ac:spMkLst>
        </pc:spChg>
        <pc:spChg chg="add mod ord">
          <ac:chgData name="Thomas Stensitzki" userId="75cafe6b-2f2a-469b-85c4-eec3b9c972ba" providerId="ADAL" clId="{D749F68F-3C37-4EAF-8B4D-F1B70F3C9AD9}" dt="2021-07-04T14:49:40.131" v="473" actId="20577"/>
          <ac:spMkLst>
            <pc:docMk/>
            <pc:sldMk cId="3403718045" sldId="288"/>
            <ac:spMk id="5" creationId="{7E6E262B-8D67-4B3F-B4E1-C815422E1E2E}"/>
          </ac:spMkLst>
        </pc:spChg>
      </pc:sldChg>
    </pc:docChg>
  </pc:docChgLst>
  <pc:docChgLst>
    <pc:chgData name="Thomas Stensitzki" userId="75cafe6b-2f2a-469b-85c4-eec3b9c972ba" providerId="ADAL" clId="{E0507A4B-82D8-4FED-8611-F9F0FDAB315F}"/>
    <pc:docChg chg="custSel addSld delSld modSld modSection">
      <pc:chgData name="Thomas Stensitzki" userId="75cafe6b-2f2a-469b-85c4-eec3b9c972ba" providerId="ADAL" clId="{E0507A4B-82D8-4FED-8611-F9F0FDAB315F}" dt="2022-01-10T13:28:31.032" v="309" actId="20577"/>
      <pc:docMkLst>
        <pc:docMk/>
      </pc:docMkLst>
      <pc:sldChg chg="modSp mod">
        <pc:chgData name="Thomas Stensitzki" userId="75cafe6b-2f2a-469b-85c4-eec3b9c972ba" providerId="ADAL" clId="{E0507A4B-82D8-4FED-8611-F9F0FDAB315F}" dt="2022-01-10T12:40:48.100" v="7" actId="20577"/>
        <pc:sldMkLst>
          <pc:docMk/>
          <pc:sldMk cId="1331178014" sldId="256"/>
        </pc:sldMkLst>
        <pc:spChg chg="mod">
          <ac:chgData name="Thomas Stensitzki" userId="75cafe6b-2f2a-469b-85c4-eec3b9c972ba" providerId="ADAL" clId="{E0507A4B-82D8-4FED-8611-F9F0FDAB315F}" dt="2022-01-10T12:40:48.100" v="7" actId="20577"/>
          <ac:spMkLst>
            <pc:docMk/>
            <pc:sldMk cId="1331178014" sldId="256"/>
            <ac:spMk id="2" creationId="{E137B2CB-D047-404D-B8CC-C662AA78F69E}"/>
          </ac:spMkLst>
        </pc:spChg>
        <pc:spChg chg="mod">
          <ac:chgData name="Thomas Stensitzki" userId="75cafe6b-2f2a-469b-85c4-eec3b9c972ba" providerId="ADAL" clId="{E0507A4B-82D8-4FED-8611-F9F0FDAB315F}" dt="2022-01-10T12:40:43.833" v="1" actId="6549"/>
          <ac:spMkLst>
            <pc:docMk/>
            <pc:sldMk cId="1331178014" sldId="256"/>
            <ac:spMk id="3" creationId="{FD1EE5AE-531F-46B2-BC77-BEC77D90CE70}"/>
          </ac:spMkLst>
        </pc:spChg>
      </pc:sldChg>
      <pc:sldChg chg="modSp mod">
        <pc:chgData name="Thomas Stensitzki" userId="75cafe6b-2f2a-469b-85c4-eec3b9c972ba" providerId="ADAL" clId="{E0507A4B-82D8-4FED-8611-F9F0FDAB315F}" dt="2022-01-10T12:58:32.994" v="305" actId="20577"/>
        <pc:sldMkLst>
          <pc:docMk/>
          <pc:sldMk cId="2213403937" sldId="259"/>
        </pc:sldMkLst>
        <pc:spChg chg="mod">
          <ac:chgData name="Thomas Stensitzki" userId="75cafe6b-2f2a-469b-85c4-eec3b9c972ba" providerId="ADAL" clId="{E0507A4B-82D8-4FED-8611-F9F0FDAB315F}" dt="2022-01-10T12:58:15.102" v="298" actId="1076"/>
          <ac:spMkLst>
            <pc:docMk/>
            <pc:sldMk cId="2213403937" sldId="259"/>
            <ac:spMk id="3" creationId="{929F043B-C787-47A9-8373-4D8587EE4FEA}"/>
          </ac:spMkLst>
        </pc:spChg>
        <pc:spChg chg="mod">
          <ac:chgData name="Thomas Stensitzki" userId="75cafe6b-2f2a-469b-85c4-eec3b9c972ba" providerId="ADAL" clId="{E0507A4B-82D8-4FED-8611-F9F0FDAB315F}" dt="2022-01-10T12:58:32.994" v="305" actId="20577"/>
          <ac:spMkLst>
            <pc:docMk/>
            <pc:sldMk cId="2213403937" sldId="259"/>
            <ac:spMk id="4" creationId="{1D2D1BF2-DBEA-44D1-B318-6E31D982F99B}"/>
          </ac:spMkLst>
        </pc:spChg>
      </pc:sldChg>
      <pc:sldChg chg="modSp mod">
        <pc:chgData name="Thomas Stensitzki" userId="75cafe6b-2f2a-469b-85c4-eec3b9c972ba" providerId="ADAL" clId="{E0507A4B-82D8-4FED-8611-F9F0FDAB315F}" dt="2022-01-10T12:40:53.576" v="13" actId="20577"/>
        <pc:sldMkLst>
          <pc:docMk/>
          <pc:sldMk cId="1916615734" sldId="274"/>
        </pc:sldMkLst>
        <pc:spChg chg="mod">
          <ac:chgData name="Thomas Stensitzki" userId="75cafe6b-2f2a-469b-85c4-eec3b9c972ba" providerId="ADAL" clId="{E0507A4B-82D8-4FED-8611-F9F0FDAB315F}" dt="2022-01-10T12:40:53.576" v="13" actId="20577"/>
          <ac:spMkLst>
            <pc:docMk/>
            <pc:sldMk cId="1916615734" sldId="274"/>
            <ac:spMk id="5" creationId="{94140262-613E-47E0-8110-F2C2EDE2EFD9}"/>
          </ac:spMkLst>
        </pc:spChg>
      </pc:sldChg>
      <pc:sldChg chg="del">
        <pc:chgData name="Thomas Stensitzki" userId="75cafe6b-2f2a-469b-85c4-eec3b9c972ba" providerId="ADAL" clId="{E0507A4B-82D8-4FED-8611-F9F0FDAB315F}" dt="2022-01-10T13:04:45.478" v="307" actId="2696"/>
        <pc:sldMkLst>
          <pc:docMk/>
          <pc:sldMk cId="1179876429" sldId="284"/>
        </pc:sldMkLst>
      </pc:sldChg>
      <pc:sldChg chg="mod modShow">
        <pc:chgData name="Thomas Stensitzki" userId="75cafe6b-2f2a-469b-85c4-eec3b9c972ba" providerId="ADAL" clId="{E0507A4B-82D8-4FED-8611-F9F0FDAB315F}" dt="2022-01-10T13:04:39.313" v="306" actId="729"/>
        <pc:sldMkLst>
          <pc:docMk/>
          <pc:sldMk cId="3403718045" sldId="288"/>
        </pc:sldMkLst>
      </pc:sldChg>
      <pc:sldChg chg="addSp delSp modSp new mod modClrScheme chgLayout">
        <pc:chgData name="Thomas Stensitzki" userId="75cafe6b-2f2a-469b-85c4-eec3b9c972ba" providerId="ADAL" clId="{E0507A4B-82D8-4FED-8611-F9F0FDAB315F}" dt="2022-01-10T12:47:56.391" v="213" actId="1076"/>
        <pc:sldMkLst>
          <pc:docMk/>
          <pc:sldMk cId="1983662873" sldId="289"/>
        </pc:sldMkLst>
        <pc:spChg chg="del mod ord">
          <ac:chgData name="Thomas Stensitzki" userId="75cafe6b-2f2a-469b-85c4-eec3b9c972ba" providerId="ADAL" clId="{E0507A4B-82D8-4FED-8611-F9F0FDAB315F}" dt="2022-01-10T12:41:39.920" v="16" actId="700"/>
          <ac:spMkLst>
            <pc:docMk/>
            <pc:sldMk cId="1983662873" sldId="289"/>
            <ac:spMk id="2" creationId="{6C0C124E-8531-48C0-BA58-5A57476D776D}"/>
          </ac:spMkLst>
        </pc:spChg>
        <pc:spChg chg="del mod ord">
          <ac:chgData name="Thomas Stensitzki" userId="75cafe6b-2f2a-469b-85c4-eec3b9c972ba" providerId="ADAL" clId="{E0507A4B-82D8-4FED-8611-F9F0FDAB315F}" dt="2022-01-10T12:41:39.920" v="16" actId="700"/>
          <ac:spMkLst>
            <pc:docMk/>
            <pc:sldMk cId="1983662873" sldId="289"/>
            <ac:spMk id="3" creationId="{82786EF0-CC2E-4107-9EB8-929E06C2B060}"/>
          </ac:spMkLst>
        </pc:spChg>
        <pc:spChg chg="add mod ord">
          <ac:chgData name="Thomas Stensitzki" userId="75cafe6b-2f2a-469b-85c4-eec3b9c972ba" providerId="ADAL" clId="{E0507A4B-82D8-4FED-8611-F9F0FDAB315F}" dt="2022-01-10T12:41:51.889" v="27" actId="20577"/>
          <ac:spMkLst>
            <pc:docMk/>
            <pc:sldMk cId="1983662873" sldId="289"/>
            <ac:spMk id="4" creationId="{8FEA2D53-7378-4C7F-9DD6-050307FE22DB}"/>
          </ac:spMkLst>
        </pc:spChg>
        <pc:spChg chg="add mod ord">
          <ac:chgData name="Thomas Stensitzki" userId="75cafe6b-2f2a-469b-85c4-eec3b9c972ba" providerId="ADAL" clId="{E0507A4B-82D8-4FED-8611-F9F0FDAB315F}" dt="2022-01-10T12:46:54.879" v="203" actId="20577"/>
          <ac:spMkLst>
            <pc:docMk/>
            <pc:sldMk cId="1983662873" sldId="289"/>
            <ac:spMk id="5" creationId="{D05659D5-EAC8-462C-BE64-86039AA86D97}"/>
          </ac:spMkLst>
        </pc:spChg>
        <pc:picChg chg="add mod">
          <ac:chgData name="Thomas Stensitzki" userId="75cafe6b-2f2a-469b-85c4-eec3b9c972ba" providerId="ADAL" clId="{E0507A4B-82D8-4FED-8611-F9F0FDAB315F}" dt="2022-01-10T12:47:53.752" v="212" actId="1076"/>
          <ac:picMkLst>
            <pc:docMk/>
            <pc:sldMk cId="1983662873" sldId="289"/>
            <ac:picMk id="1026" creationId="{318C152A-C287-40E4-B5EE-0A082FB2E8C2}"/>
          </ac:picMkLst>
        </pc:picChg>
        <pc:picChg chg="add mod">
          <ac:chgData name="Thomas Stensitzki" userId="75cafe6b-2f2a-469b-85c4-eec3b9c972ba" providerId="ADAL" clId="{E0507A4B-82D8-4FED-8611-F9F0FDAB315F}" dt="2022-01-10T12:47:56.391" v="213" actId="1076"/>
          <ac:picMkLst>
            <pc:docMk/>
            <pc:sldMk cId="1983662873" sldId="289"/>
            <ac:picMk id="1028" creationId="{1C91C3B0-5E32-4A25-A652-36E13221C062}"/>
          </ac:picMkLst>
        </pc:picChg>
        <pc:picChg chg="add mod">
          <ac:chgData name="Thomas Stensitzki" userId="75cafe6b-2f2a-469b-85c4-eec3b9c972ba" providerId="ADAL" clId="{E0507A4B-82D8-4FED-8611-F9F0FDAB315F}" dt="2022-01-10T12:47:14.078" v="205" actId="1076"/>
          <ac:picMkLst>
            <pc:docMk/>
            <pc:sldMk cId="1983662873" sldId="289"/>
            <ac:picMk id="1030" creationId="{8C1986E3-7CAC-4583-BBC8-D609567A1BE0}"/>
          </ac:picMkLst>
        </pc:picChg>
        <pc:picChg chg="add mod">
          <ac:chgData name="Thomas Stensitzki" userId="75cafe6b-2f2a-469b-85c4-eec3b9c972ba" providerId="ADAL" clId="{E0507A4B-82D8-4FED-8611-F9F0FDAB315F}" dt="2022-01-10T12:47:50.864" v="211" actId="1076"/>
          <ac:picMkLst>
            <pc:docMk/>
            <pc:sldMk cId="1983662873" sldId="289"/>
            <ac:picMk id="1032" creationId="{A6570B69-75F6-48C3-A43F-290689B8EE79}"/>
          </ac:picMkLst>
        </pc:picChg>
      </pc:sldChg>
      <pc:sldChg chg="del">
        <pc:chgData name="Thomas Stensitzki" userId="75cafe6b-2f2a-469b-85c4-eec3b9c972ba" providerId="ADAL" clId="{E0507A4B-82D8-4FED-8611-F9F0FDAB315F}" dt="2022-01-10T12:41:10.229" v="14" actId="47"/>
        <pc:sldMkLst>
          <pc:docMk/>
          <pc:sldMk cId="2556869249" sldId="289"/>
        </pc:sldMkLst>
      </pc:sldChg>
      <pc:sldChg chg="addSp delSp modSp add mod">
        <pc:chgData name="Thomas Stensitzki" userId="75cafe6b-2f2a-469b-85c4-eec3b9c972ba" providerId="ADAL" clId="{E0507A4B-82D8-4FED-8611-F9F0FDAB315F}" dt="2022-01-10T12:54:35.011" v="258" actId="3626"/>
        <pc:sldMkLst>
          <pc:docMk/>
          <pc:sldMk cId="3698748092" sldId="290"/>
        </pc:sldMkLst>
        <pc:spChg chg="mod">
          <ac:chgData name="Thomas Stensitzki" userId="75cafe6b-2f2a-469b-85c4-eec3b9c972ba" providerId="ADAL" clId="{E0507A4B-82D8-4FED-8611-F9F0FDAB315F}" dt="2022-01-10T12:48:20.195" v="219" actId="20577"/>
          <ac:spMkLst>
            <pc:docMk/>
            <pc:sldMk cId="3698748092" sldId="290"/>
            <ac:spMk id="4" creationId="{8FEA2D53-7378-4C7F-9DD6-050307FE22DB}"/>
          </ac:spMkLst>
        </pc:spChg>
        <pc:spChg chg="mod">
          <ac:chgData name="Thomas Stensitzki" userId="75cafe6b-2f2a-469b-85c4-eec3b9c972ba" providerId="ADAL" clId="{E0507A4B-82D8-4FED-8611-F9F0FDAB315F}" dt="2022-01-10T12:54:35.011" v="258" actId="3626"/>
          <ac:spMkLst>
            <pc:docMk/>
            <pc:sldMk cId="3698748092" sldId="290"/>
            <ac:spMk id="5" creationId="{D05659D5-EAC8-462C-BE64-86039AA86D97}"/>
          </ac:spMkLst>
        </pc:spChg>
        <pc:picChg chg="del">
          <ac:chgData name="Thomas Stensitzki" userId="75cafe6b-2f2a-469b-85c4-eec3b9c972ba" providerId="ADAL" clId="{E0507A4B-82D8-4FED-8611-F9F0FDAB315F}" dt="2022-01-10T12:52:01.243" v="244" actId="478"/>
          <ac:picMkLst>
            <pc:docMk/>
            <pc:sldMk cId="3698748092" sldId="290"/>
            <ac:picMk id="1026" creationId="{318C152A-C287-40E4-B5EE-0A082FB2E8C2}"/>
          </ac:picMkLst>
        </pc:picChg>
        <pc:picChg chg="del">
          <ac:chgData name="Thomas Stensitzki" userId="75cafe6b-2f2a-469b-85c4-eec3b9c972ba" providerId="ADAL" clId="{E0507A4B-82D8-4FED-8611-F9F0FDAB315F}" dt="2022-01-10T12:52:00.628" v="243" actId="478"/>
          <ac:picMkLst>
            <pc:docMk/>
            <pc:sldMk cId="3698748092" sldId="290"/>
            <ac:picMk id="1028" creationId="{1C91C3B0-5E32-4A25-A652-36E13221C062}"/>
          </ac:picMkLst>
        </pc:picChg>
        <pc:picChg chg="del">
          <ac:chgData name="Thomas Stensitzki" userId="75cafe6b-2f2a-469b-85c4-eec3b9c972ba" providerId="ADAL" clId="{E0507A4B-82D8-4FED-8611-F9F0FDAB315F}" dt="2022-01-10T12:52:01.986" v="245" actId="478"/>
          <ac:picMkLst>
            <pc:docMk/>
            <pc:sldMk cId="3698748092" sldId="290"/>
            <ac:picMk id="1030" creationId="{8C1986E3-7CAC-4583-BBC8-D609567A1BE0}"/>
          </ac:picMkLst>
        </pc:picChg>
        <pc:picChg chg="del">
          <ac:chgData name="Thomas Stensitzki" userId="75cafe6b-2f2a-469b-85c4-eec3b9c972ba" providerId="ADAL" clId="{E0507A4B-82D8-4FED-8611-F9F0FDAB315F}" dt="2022-01-10T12:52:03.609" v="246" actId="478"/>
          <ac:picMkLst>
            <pc:docMk/>
            <pc:sldMk cId="3698748092" sldId="290"/>
            <ac:picMk id="1032" creationId="{A6570B69-75F6-48C3-A43F-290689B8EE79}"/>
          </ac:picMkLst>
        </pc:picChg>
        <pc:picChg chg="add mod">
          <ac:chgData name="Thomas Stensitzki" userId="75cafe6b-2f2a-469b-85c4-eec3b9c972ba" providerId="ADAL" clId="{E0507A4B-82D8-4FED-8611-F9F0FDAB315F}" dt="2022-01-10T12:53:59.557" v="254" actId="1076"/>
          <ac:picMkLst>
            <pc:docMk/>
            <pc:sldMk cId="3698748092" sldId="290"/>
            <ac:picMk id="3074" creationId="{A217C7E4-AD7F-492D-A9A0-82E801CDC4E7}"/>
          </ac:picMkLst>
        </pc:picChg>
        <pc:picChg chg="add mod">
          <ac:chgData name="Thomas Stensitzki" userId="75cafe6b-2f2a-469b-85c4-eec3b9c972ba" providerId="ADAL" clId="{E0507A4B-82D8-4FED-8611-F9F0FDAB315F}" dt="2022-01-10T12:54:15.683" v="257" actId="1076"/>
          <ac:picMkLst>
            <pc:docMk/>
            <pc:sldMk cId="3698748092" sldId="290"/>
            <ac:picMk id="3076" creationId="{0D63D9BC-08A3-499D-9A90-BBF90CD17787}"/>
          </ac:picMkLst>
        </pc:picChg>
      </pc:sldChg>
      <pc:sldChg chg="addSp delSp modSp add mod">
        <pc:chgData name="Thomas Stensitzki" userId="75cafe6b-2f2a-469b-85c4-eec3b9c972ba" providerId="ADAL" clId="{E0507A4B-82D8-4FED-8611-F9F0FDAB315F}" dt="2022-01-10T12:49:55.359" v="242" actId="3626"/>
        <pc:sldMkLst>
          <pc:docMk/>
          <pc:sldMk cId="4169728057" sldId="291"/>
        </pc:sldMkLst>
        <pc:spChg chg="mod">
          <ac:chgData name="Thomas Stensitzki" userId="75cafe6b-2f2a-469b-85c4-eec3b9c972ba" providerId="ADAL" clId="{E0507A4B-82D8-4FED-8611-F9F0FDAB315F}" dt="2022-01-10T12:48:32.580" v="233" actId="6549"/>
          <ac:spMkLst>
            <pc:docMk/>
            <pc:sldMk cId="4169728057" sldId="291"/>
            <ac:spMk id="4" creationId="{8FEA2D53-7378-4C7F-9DD6-050307FE22DB}"/>
          </ac:spMkLst>
        </pc:spChg>
        <pc:spChg chg="mod">
          <ac:chgData name="Thomas Stensitzki" userId="75cafe6b-2f2a-469b-85c4-eec3b9c972ba" providerId="ADAL" clId="{E0507A4B-82D8-4FED-8611-F9F0FDAB315F}" dt="2022-01-10T12:49:55.359" v="242" actId="3626"/>
          <ac:spMkLst>
            <pc:docMk/>
            <pc:sldMk cId="4169728057" sldId="291"/>
            <ac:spMk id="5" creationId="{D05659D5-EAC8-462C-BE64-86039AA86D97}"/>
          </ac:spMkLst>
        </pc:spChg>
        <pc:picChg chg="del">
          <ac:chgData name="Thomas Stensitzki" userId="75cafe6b-2f2a-469b-85c4-eec3b9c972ba" providerId="ADAL" clId="{E0507A4B-82D8-4FED-8611-F9F0FDAB315F}" dt="2022-01-10T12:48:34.621" v="235" actId="478"/>
          <ac:picMkLst>
            <pc:docMk/>
            <pc:sldMk cId="4169728057" sldId="291"/>
            <ac:picMk id="1026" creationId="{318C152A-C287-40E4-B5EE-0A082FB2E8C2}"/>
          </ac:picMkLst>
        </pc:picChg>
        <pc:picChg chg="del">
          <ac:chgData name="Thomas Stensitzki" userId="75cafe6b-2f2a-469b-85c4-eec3b9c972ba" providerId="ADAL" clId="{E0507A4B-82D8-4FED-8611-F9F0FDAB315F}" dt="2022-01-10T12:48:35.184" v="236" actId="478"/>
          <ac:picMkLst>
            <pc:docMk/>
            <pc:sldMk cId="4169728057" sldId="291"/>
            <ac:picMk id="1028" creationId="{1C91C3B0-5E32-4A25-A652-36E13221C062}"/>
          </ac:picMkLst>
        </pc:picChg>
        <pc:picChg chg="del">
          <ac:chgData name="Thomas Stensitzki" userId="75cafe6b-2f2a-469b-85c4-eec3b9c972ba" providerId="ADAL" clId="{E0507A4B-82D8-4FED-8611-F9F0FDAB315F}" dt="2022-01-10T12:48:34.171" v="234" actId="478"/>
          <ac:picMkLst>
            <pc:docMk/>
            <pc:sldMk cId="4169728057" sldId="291"/>
            <ac:picMk id="1030" creationId="{8C1986E3-7CAC-4583-BBC8-D609567A1BE0}"/>
          </ac:picMkLst>
        </pc:picChg>
        <pc:picChg chg="del">
          <ac:chgData name="Thomas Stensitzki" userId="75cafe6b-2f2a-469b-85c4-eec3b9c972ba" providerId="ADAL" clId="{E0507A4B-82D8-4FED-8611-F9F0FDAB315F}" dt="2022-01-10T12:48:35.781" v="237" actId="478"/>
          <ac:picMkLst>
            <pc:docMk/>
            <pc:sldMk cId="4169728057" sldId="291"/>
            <ac:picMk id="1032" creationId="{A6570B69-75F6-48C3-A43F-290689B8EE79}"/>
          </ac:picMkLst>
        </pc:picChg>
        <pc:picChg chg="add mod">
          <ac:chgData name="Thomas Stensitzki" userId="75cafe6b-2f2a-469b-85c4-eec3b9c972ba" providerId="ADAL" clId="{E0507A4B-82D8-4FED-8611-F9F0FDAB315F}" dt="2022-01-10T12:48:48.354" v="239" actId="1076"/>
          <ac:picMkLst>
            <pc:docMk/>
            <pc:sldMk cId="4169728057" sldId="291"/>
            <ac:picMk id="2050" creationId="{53D80C50-381A-4662-8A6B-5C7AF9111EC2}"/>
          </ac:picMkLst>
        </pc:picChg>
      </pc:sldChg>
      <pc:sldChg chg="addSp delSp modSp add mod">
        <pc:chgData name="Thomas Stensitzki" userId="75cafe6b-2f2a-469b-85c4-eec3b9c972ba" providerId="ADAL" clId="{E0507A4B-82D8-4FED-8611-F9F0FDAB315F}" dt="2022-01-10T13:28:31.032" v="309" actId="20577"/>
        <pc:sldMkLst>
          <pc:docMk/>
          <pc:sldMk cId="1236522291" sldId="292"/>
        </pc:sldMkLst>
        <pc:spChg chg="mod">
          <ac:chgData name="Thomas Stensitzki" userId="75cafe6b-2f2a-469b-85c4-eec3b9c972ba" providerId="ADAL" clId="{E0507A4B-82D8-4FED-8611-F9F0FDAB315F}" dt="2022-01-10T12:55:23.257" v="267" actId="20577"/>
          <ac:spMkLst>
            <pc:docMk/>
            <pc:sldMk cId="1236522291" sldId="292"/>
            <ac:spMk id="4" creationId="{8FEA2D53-7378-4C7F-9DD6-050307FE22DB}"/>
          </ac:spMkLst>
        </pc:spChg>
        <pc:spChg chg="mod">
          <ac:chgData name="Thomas Stensitzki" userId="75cafe6b-2f2a-469b-85c4-eec3b9c972ba" providerId="ADAL" clId="{E0507A4B-82D8-4FED-8611-F9F0FDAB315F}" dt="2022-01-10T13:28:31.032" v="309" actId="20577"/>
          <ac:spMkLst>
            <pc:docMk/>
            <pc:sldMk cId="1236522291" sldId="292"/>
            <ac:spMk id="5" creationId="{D05659D5-EAC8-462C-BE64-86039AA86D97}"/>
          </ac:spMkLst>
        </pc:spChg>
        <pc:picChg chg="del">
          <ac:chgData name="Thomas Stensitzki" userId="75cafe6b-2f2a-469b-85c4-eec3b9c972ba" providerId="ADAL" clId="{E0507A4B-82D8-4FED-8611-F9F0FDAB315F}" dt="2022-01-10T12:55:26.320" v="269" actId="478"/>
          <ac:picMkLst>
            <pc:docMk/>
            <pc:sldMk cId="1236522291" sldId="292"/>
            <ac:picMk id="3074" creationId="{A217C7E4-AD7F-492D-A9A0-82E801CDC4E7}"/>
          </ac:picMkLst>
        </pc:picChg>
        <pc:picChg chg="del">
          <ac:chgData name="Thomas Stensitzki" userId="75cafe6b-2f2a-469b-85c4-eec3b9c972ba" providerId="ADAL" clId="{E0507A4B-82D8-4FED-8611-F9F0FDAB315F}" dt="2022-01-10T12:55:25.754" v="268" actId="478"/>
          <ac:picMkLst>
            <pc:docMk/>
            <pc:sldMk cId="1236522291" sldId="292"/>
            <ac:picMk id="3076" creationId="{0D63D9BC-08A3-499D-9A90-BBF90CD17787}"/>
          </ac:picMkLst>
        </pc:picChg>
        <pc:picChg chg="add mod">
          <ac:chgData name="Thomas Stensitzki" userId="75cafe6b-2f2a-469b-85c4-eec3b9c972ba" providerId="ADAL" clId="{E0507A4B-82D8-4FED-8611-F9F0FDAB315F}" dt="2022-01-10T12:55:52.968" v="274" actId="1076"/>
          <ac:picMkLst>
            <pc:docMk/>
            <pc:sldMk cId="1236522291" sldId="292"/>
            <ac:picMk id="4098" creationId="{B5A911B7-87BD-4531-BB16-6BB49331CFF7}"/>
          </ac:picMkLst>
        </pc:picChg>
        <pc:picChg chg="add mod">
          <ac:chgData name="Thomas Stensitzki" userId="75cafe6b-2f2a-469b-85c4-eec3b9c972ba" providerId="ADAL" clId="{E0507A4B-82D8-4FED-8611-F9F0FDAB315F}" dt="2022-01-10T12:57:27.505" v="294" actId="1076"/>
          <ac:picMkLst>
            <pc:docMk/>
            <pc:sldMk cId="1236522291" sldId="292"/>
            <ac:picMk id="4100" creationId="{A968CDFB-5190-4A72-81E8-35C159AF176F}"/>
          </ac:picMkLst>
        </pc:picChg>
        <pc:picChg chg="add mod">
          <ac:chgData name="Thomas Stensitzki" userId="75cafe6b-2f2a-469b-85c4-eec3b9c972ba" providerId="ADAL" clId="{E0507A4B-82D8-4FED-8611-F9F0FDAB315F}" dt="2022-01-10T12:57:45.573" v="297" actId="1076"/>
          <ac:picMkLst>
            <pc:docMk/>
            <pc:sldMk cId="1236522291" sldId="292"/>
            <ac:picMk id="4102" creationId="{E993FDC2-57B7-4D72-A7F6-D3677AB0B695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23C624C-0D04-E54F-B446-75C8DE1BF310}" type="doc">
      <dgm:prSet loTypeId="urn:microsoft.com/office/officeart/2005/8/layout/radial4" loCatId="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B9A21220-E6B7-2F4D-B4F0-31EDB9245B4B}">
      <dgm:prSet phldrT="[Text]" phldr="0" custT="1"/>
      <dgm:spPr>
        <a:xfrm>
          <a:off x="31396" y="625549"/>
          <a:ext cx="948554" cy="758843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GB" sz="1600" dirty="0" err="1">
              <a:latin typeface="Segoe UI"/>
              <a:ea typeface="+mn-ea"/>
              <a:cs typeface="+mn-cs"/>
            </a:rPr>
            <a:t>Produktivitäts-werkzeuge</a:t>
          </a:r>
          <a:endParaRPr lang="en-GB" sz="1600" dirty="0">
            <a:latin typeface="Segoe UI"/>
            <a:ea typeface="+mn-ea"/>
            <a:cs typeface="+mn-cs"/>
          </a:endParaRPr>
        </a:p>
      </dgm:t>
    </dgm:pt>
    <dgm:pt modelId="{BF619736-80D8-A343-BC89-9944E7FA3A76}" type="parTrans" cxnId="{7E42C4A0-72D7-C64E-9444-08AB83BDA5C6}">
      <dgm:prSet/>
      <dgm:spPr>
        <a:xfrm rot="12900000">
          <a:off x="423227" y="1124174"/>
          <a:ext cx="911776" cy="284566"/>
        </a:xfrm>
        <a:prstGeom prst="lef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en-GB" sz="1050"/>
        </a:p>
      </dgm:t>
    </dgm:pt>
    <dgm:pt modelId="{D91C92E3-0F3F-BF4E-A034-511E56D12888}" type="sibTrans" cxnId="{7E42C4A0-72D7-C64E-9444-08AB83BDA5C6}">
      <dgm:prSet/>
      <dgm:spPr/>
      <dgm:t>
        <a:bodyPr/>
        <a:lstStyle/>
        <a:p>
          <a:endParaRPr lang="en-GB" sz="1050"/>
        </a:p>
      </dgm:t>
    </dgm:pt>
    <dgm:pt modelId="{5B40FA05-A19A-0C47-BFD4-2852C34A2C17}">
      <dgm:prSet phldrT="[Text]" phldr="0" custT="1"/>
      <dgm:spPr>
        <a:xfrm>
          <a:off x="1205740" y="1345494"/>
          <a:ext cx="998478" cy="998478"/>
        </a:xfrm>
        <a:prstGeom prst="ellipse">
          <a:avLst/>
        </a:prstGeom>
      </dgm:spPr>
      <dgm:t>
        <a:bodyPr/>
        <a:lstStyle/>
        <a:p>
          <a:pPr>
            <a:buNone/>
          </a:pPr>
          <a:r>
            <a:rPr lang="en-GB" sz="1800" b="1" dirty="0">
              <a:latin typeface="Segoe UI"/>
              <a:ea typeface="+mn-ea"/>
              <a:cs typeface="+mn-cs"/>
            </a:rPr>
            <a:t>Microsoft 365</a:t>
          </a:r>
        </a:p>
      </dgm:t>
    </dgm:pt>
    <dgm:pt modelId="{ABB29113-82A6-8441-A144-F8C7A29706B3}" type="parTrans" cxnId="{17A62163-67AF-7E42-A687-0863B85F81DE}">
      <dgm:prSet/>
      <dgm:spPr/>
      <dgm:t>
        <a:bodyPr/>
        <a:lstStyle/>
        <a:p>
          <a:endParaRPr lang="en-GB" sz="1050"/>
        </a:p>
      </dgm:t>
    </dgm:pt>
    <dgm:pt modelId="{F8E0C01D-D75E-024E-BF0C-041AC00C93AA}" type="sibTrans" cxnId="{17A62163-67AF-7E42-A687-0863B85F81DE}">
      <dgm:prSet/>
      <dgm:spPr/>
      <dgm:t>
        <a:bodyPr/>
        <a:lstStyle/>
        <a:p>
          <a:endParaRPr lang="en-GB" sz="1050"/>
        </a:p>
      </dgm:t>
    </dgm:pt>
    <dgm:pt modelId="{0FBA97F2-5DA3-284A-9E69-11FD255A09D3}">
      <dgm:prSet phldrT="[Text]" phldr="0" custT="1"/>
      <dgm:spPr>
        <a:xfrm>
          <a:off x="2430008" y="625549"/>
          <a:ext cx="948554" cy="758843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GB" sz="1600" b="1">
              <a:latin typeface="Segoe UI"/>
              <a:ea typeface="+mn-ea"/>
              <a:cs typeface="+mn-cs"/>
            </a:rPr>
            <a:t>Collaboration Hubs</a:t>
          </a:r>
        </a:p>
      </dgm:t>
    </dgm:pt>
    <dgm:pt modelId="{BA45B694-C6B8-DC44-99C2-F1A121322CC4}" type="parTrans" cxnId="{83B40967-CE94-5943-85E9-F7C50ADCFA4C}">
      <dgm:prSet/>
      <dgm:spPr>
        <a:xfrm rot="19500000">
          <a:off x="2074955" y="1124174"/>
          <a:ext cx="911776" cy="284566"/>
        </a:xfrm>
        <a:prstGeom prst="lef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en-GB" sz="1050"/>
        </a:p>
      </dgm:t>
    </dgm:pt>
    <dgm:pt modelId="{A12A3B7D-462B-6648-A93C-A1E505A0EA09}" type="sibTrans" cxnId="{83B40967-CE94-5943-85E9-F7C50ADCFA4C}">
      <dgm:prSet/>
      <dgm:spPr/>
      <dgm:t>
        <a:bodyPr/>
        <a:lstStyle/>
        <a:p>
          <a:endParaRPr lang="en-GB" sz="1050"/>
        </a:p>
      </dgm:t>
    </dgm:pt>
    <dgm:pt modelId="{80BFDE30-D427-CA45-ACD6-BF5B900DEC26}">
      <dgm:prSet phldrT="[Text]" phldr="0" custT="1"/>
      <dgm:spPr>
        <a:xfrm>
          <a:off x="1230702" y="1230"/>
          <a:ext cx="948554" cy="758843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GB" sz="1600" dirty="0">
              <a:latin typeface="Segoe UI"/>
              <a:ea typeface="+mn-ea"/>
              <a:cs typeface="+mn-cs"/>
            </a:rPr>
            <a:t>Security &amp; Compliance</a:t>
          </a:r>
        </a:p>
      </dgm:t>
    </dgm:pt>
    <dgm:pt modelId="{121B9CDA-11F4-BC4B-836F-56DE391606E2}" type="parTrans" cxnId="{0F6234A7-210F-0A47-88F1-B72154892BDA}">
      <dgm:prSet/>
      <dgm:spPr>
        <a:xfrm rot="16200000">
          <a:off x="1249091" y="694257"/>
          <a:ext cx="911776" cy="284566"/>
        </a:xfrm>
        <a:prstGeom prst="lef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en-GB" sz="1050"/>
        </a:p>
      </dgm:t>
    </dgm:pt>
    <dgm:pt modelId="{1EDC9CA9-E739-C744-B9FE-FE5EBC52CB55}" type="sibTrans" cxnId="{0F6234A7-210F-0A47-88F1-B72154892BDA}">
      <dgm:prSet/>
      <dgm:spPr/>
      <dgm:t>
        <a:bodyPr/>
        <a:lstStyle/>
        <a:p>
          <a:endParaRPr lang="en-GB" sz="1050"/>
        </a:p>
      </dgm:t>
    </dgm:pt>
    <dgm:pt modelId="{587DE0AF-3A52-924E-83CD-B5E54B2E1905}" type="pres">
      <dgm:prSet presAssocID="{023C624C-0D04-E54F-B446-75C8DE1BF310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4306576B-F669-2E43-B9E2-17BAD55637AB}" type="pres">
      <dgm:prSet presAssocID="{5B40FA05-A19A-0C47-BFD4-2852C34A2C17}" presName="centerShape" presStyleLbl="node0" presStyleIdx="0" presStyleCnt="1"/>
      <dgm:spPr/>
    </dgm:pt>
    <dgm:pt modelId="{21D6DE7D-4B29-BD45-8388-EDE942DDFAFD}" type="pres">
      <dgm:prSet presAssocID="{BF619736-80D8-A343-BC89-9944E7FA3A76}" presName="parTrans" presStyleLbl="bgSibTrans2D1" presStyleIdx="0" presStyleCnt="3"/>
      <dgm:spPr/>
    </dgm:pt>
    <dgm:pt modelId="{6AD536FD-E17F-0846-ADE4-42663E39F90D}" type="pres">
      <dgm:prSet presAssocID="{B9A21220-E6B7-2F4D-B4F0-31EDB9245B4B}" presName="node" presStyleLbl="node1" presStyleIdx="0" presStyleCnt="3">
        <dgm:presLayoutVars>
          <dgm:bulletEnabled val="1"/>
        </dgm:presLayoutVars>
      </dgm:prSet>
      <dgm:spPr/>
    </dgm:pt>
    <dgm:pt modelId="{4BDB5A8B-A923-3B40-BB9F-26DD6E4C9057}" type="pres">
      <dgm:prSet presAssocID="{121B9CDA-11F4-BC4B-836F-56DE391606E2}" presName="parTrans" presStyleLbl="bgSibTrans2D1" presStyleIdx="1" presStyleCnt="3"/>
      <dgm:spPr/>
    </dgm:pt>
    <dgm:pt modelId="{9CF6F2BC-01D1-5642-8741-1E4142CA0527}" type="pres">
      <dgm:prSet presAssocID="{80BFDE30-D427-CA45-ACD6-BF5B900DEC26}" presName="node" presStyleLbl="node1" presStyleIdx="1" presStyleCnt="3">
        <dgm:presLayoutVars>
          <dgm:bulletEnabled val="1"/>
        </dgm:presLayoutVars>
      </dgm:prSet>
      <dgm:spPr/>
    </dgm:pt>
    <dgm:pt modelId="{709824F2-137D-E545-93CC-8A016662C2D1}" type="pres">
      <dgm:prSet presAssocID="{BA45B694-C6B8-DC44-99C2-F1A121322CC4}" presName="parTrans" presStyleLbl="bgSibTrans2D1" presStyleIdx="2" presStyleCnt="3"/>
      <dgm:spPr/>
    </dgm:pt>
    <dgm:pt modelId="{BC390EDC-53F6-9441-BE62-2B549A59C850}" type="pres">
      <dgm:prSet presAssocID="{0FBA97F2-5DA3-284A-9E69-11FD255A09D3}" presName="node" presStyleLbl="node1" presStyleIdx="2" presStyleCnt="3">
        <dgm:presLayoutVars>
          <dgm:bulletEnabled val="1"/>
        </dgm:presLayoutVars>
      </dgm:prSet>
      <dgm:spPr/>
    </dgm:pt>
  </dgm:ptLst>
  <dgm:cxnLst>
    <dgm:cxn modelId="{F13BE904-E8DC-654F-931B-021B2D708567}" type="presOf" srcId="{80BFDE30-D427-CA45-ACD6-BF5B900DEC26}" destId="{9CF6F2BC-01D1-5642-8741-1E4142CA0527}" srcOrd="0" destOrd="0" presId="urn:microsoft.com/office/officeart/2005/8/layout/radial4"/>
    <dgm:cxn modelId="{5070C509-38A7-D046-A407-151615EAB146}" type="presOf" srcId="{B9A21220-E6B7-2F4D-B4F0-31EDB9245B4B}" destId="{6AD536FD-E17F-0846-ADE4-42663E39F90D}" srcOrd="0" destOrd="0" presId="urn:microsoft.com/office/officeart/2005/8/layout/radial4"/>
    <dgm:cxn modelId="{E1AA4B0F-5A35-3740-B8CC-B29E6DEB78E5}" type="presOf" srcId="{121B9CDA-11F4-BC4B-836F-56DE391606E2}" destId="{4BDB5A8B-A923-3B40-BB9F-26DD6E4C9057}" srcOrd="0" destOrd="0" presId="urn:microsoft.com/office/officeart/2005/8/layout/radial4"/>
    <dgm:cxn modelId="{B127721C-14D1-A749-AA7E-657A163D88B4}" type="presOf" srcId="{0FBA97F2-5DA3-284A-9E69-11FD255A09D3}" destId="{BC390EDC-53F6-9441-BE62-2B549A59C850}" srcOrd="0" destOrd="0" presId="urn:microsoft.com/office/officeart/2005/8/layout/radial4"/>
    <dgm:cxn modelId="{17A62163-67AF-7E42-A687-0863B85F81DE}" srcId="{023C624C-0D04-E54F-B446-75C8DE1BF310}" destId="{5B40FA05-A19A-0C47-BFD4-2852C34A2C17}" srcOrd="0" destOrd="0" parTransId="{ABB29113-82A6-8441-A144-F8C7A29706B3}" sibTransId="{F8E0C01D-D75E-024E-BF0C-041AC00C93AA}"/>
    <dgm:cxn modelId="{83B40967-CE94-5943-85E9-F7C50ADCFA4C}" srcId="{5B40FA05-A19A-0C47-BFD4-2852C34A2C17}" destId="{0FBA97F2-5DA3-284A-9E69-11FD255A09D3}" srcOrd="2" destOrd="0" parTransId="{BA45B694-C6B8-DC44-99C2-F1A121322CC4}" sibTransId="{A12A3B7D-462B-6648-A93C-A1E505A0EA09}"/>
    <dgm:cxn modelId="{3599A474-0544-4F4E-9170-BA6FBD040A90}" type="presOf" srcId="{BA45B694-C6B8-DC44-99C2-F1A121322CC4}" destId="{709824F2-137D-E545-93CC-8A016662C2D1}" srcOrd="0" destOrd="0" presId="urn:microsoft.com/office/officeart/2005/8/layout/radial4"/>
    <dgm:cxn modelId="{5EBB1294-4F29-AE42-A372-D5CBF7E300E6}" type="presOf" srcId="{BF619736-80D8-A343-BC89-9944E7FA3A76}" destId="{21D6DE7D-4B29-BD45-8388-EDE942DDFAFD}" srcOrd="0" destOrd="0" presId="urn:microsoft.com/office/officeart/2005/8/layout/radial4"/>
    <dgm:cxn modelId="{7E42C4A0-72D7-C64E-9444-08AB83BDA5C6}" srcId="{5B40FA05-A19A-0C47-BFD4-2852C34A2C17}" destId="{B9A21220-E6B7-2F4D-B4F0-31EDB9245B4B}" srcOrd="0" destOrd="0" parTransId="{BF619736-80D8-A343-BC89-9944E7FA3A76}" sibTransId="{D91C92E3-0F3F-BF4E-A034-511E56D12888}"/>
    <dgm:cxn modelId="{0F6234A7-210F-0A47-88F1-B72154892BDA}" srcId="{5B40FA05-A19A-0C47-BFD4-2852C34A2C17}" destId="{80BFDE30-D427-CA45-ACD6-BF5B900DEC26}" srcOrd="1" destOrd="0" parTransId="{121B9CDA-11F4-BC4B-836F-56DE391606E2}" sibTransId="{1EDC9CA9-E739-C744-B9FE-FE5EBC52CB55}"/>
    <dgm:cxn modelId="{6A0B55E7-1FE1-204A-B6C4-7263D76ECF87}" type="presOf" srcId="{5B40FA05-A19A-0C47-BFD4-2852C34A2C17}" destId="{4306576B-F669-2E43-B9E2-17BAD55637AB}" srcOrd="0" destOrd="0" presId="urn:microsoft.com/office/officeart/2005/8/layout/radial4"/>
    <dgm:cxn modelId="{7CEAA8FB-D09A-BD49-8EF2-4F0039193162}" type="presOf" srcId="{023C624C-0D04-E54F-B446-75C8DE1BF310}" destId="{587DE0AF-3A52-924E-83CD-B5E54B2E1905}" srcOrd="0" destOrd="0" presId="urn:microsoft.com/office/officeart/2005/8/layout/radial4"/>
    <dgm:cxn modelId="{9A509E8D-BDBF-EF45-B71F-13D5216F6399}" type="presParOf" srcId="{587DE0AF-3A52-924E-83CD-B5E54B2E1905}" destId="{4306576B-F669-2E43-B9E2-17BAD55637AB}" srcOrd="0" destOrd="0" presId="urn:microsoft.com/office/officeart/2005/8/layout/radial4"/>
    <dgm:cxn modelId="{5876608C-E4C2-2E49-934E-D02DFC4653F6}" type="presParOf" srcId="{587DE0AF-3A52-924E-83CD-B5E54B2E1905}" destId="{21D6DE7D-4B29-BD45-8388-EDE942DDFAFD}" srcOrd="1" destOrd="0" presId="urn:microsoft.com/office/officeart/2005/8/layout/radial4"/>
    <dgm:cxn modelId="{E26A09EF-DCC1-DE40-BADA-E2939AA0D539}" type="presParOf" srcId="{587DE0AF-3A52-924E-83CD-B5E54B2E1905}" destId="{6AD536FD-E17F-0846-ADE4-42663E39F90D}" srcOrd="2" destOrd="0" presId="urn:microsoft.com/office/officeart/2005/8/layout/radial4"/>
    <dgm:cxn modelId="{EFE00780-3EBC-8E41-8915-6FF5B0BFC130}" type="presParOf" srcId="{587DE0AF-3A52-924E-83CD-B5E54B2E1905}" destId="{4BDB5A8B-A923-3B40-BB9F-26DD6E4C9057}" srcOrd="3" destOrd="0" presId="urn:microsoft.com/office/officeart/2005/8/layout/radial4"/>
    <dgm:cxn modelId="{364ED6AA-404D-9745-BC7E-3C9119886263}" type="presParOf" srcId="{587DE0AF-3A52-924E-83CD-B5E54B2E1905}" destId="{9CF6F2BC-01D1-5642-8741-1E4142CA0527}" srcOrd="4" destOrd="0" presId="urn:microsoft.com/office/officeart/2005/8/layout/radial4"/>
    <dgm:cxn modelId="{C2DF9204-C497-D648-A91F-69BE52ABF1EC}" type="presParOf" srcId="{587DE0AF-3A52-924E-83CD-B5E54B2E1905}" destId="{709824F2-137D-E545-93CC-8A016662C2D1}" srcOrd="5" destOrd="0" presId="urn:microsoft.com/office/officeart/2005/8/layout/radial4"/>
    <dgm:cxn modelId="{97D2CCE9-0AF8-A749-80E7-1AE84B8253A6}" type="presParOf" srcId="{587DE0AF-3A52-924E-83CD-B5E54B2E1905}" destId="{BC390EDC-53F6-9441-BE62-2B549A59C850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23C624C-0D04-E54F-B446-75C8DE1BF310}" type="doc">
      <dgm:prSet loTypeId="urn:microsoft.com/office/officeart/2005/8/layout/radial4" loCatId="" qsTypeId="urn:microsoft.com/office/officeart/2005/8/quickstyle/simple2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E716B5C4-DA53-9745-961C-AEE0C421D7D9}">
      <dgm:prSet phldrT="[Text]" phldr="0" custT="1"/>
      <dgm:spPr/>
      <dgm:t>
        <a:bodyPr/>
        <a:lstStyle/>
        <a:p>
          <a:r>
            <a:rPr lang="en-GB" sz="3200" b="1" dirty="0">
              <a:latin typeface="Segoe UI" panose="020B0502040204020203" pitchFamily="34" charset="0"/>
              <a:cs typeface="Segoe UI" panose="020B0502040204020203" pitchFamily="34" charset="0"/>
            </a:rPr>
            <a:t>M365 Gruppe</a:t>
          </a:r>
        </a:p>
      </dgm:t>
    </dgm:pt>
    <dgm:pt modelId="{31BF4B77-73EC-4D45-98ED-3EA45AD9BF08}" type="parTrans" cxnId="{439BBAD5-1EE0-6B4F-B3A0-FDC6B50F9F8A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5440BD2E-BB1B-4B4A-8AFF-0D7515C70FA3}" type="sibTrans" cxnId="{439BBAD5-1EE0-6B4F-B3A0-FDC6B50F9F8A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BF17F3D1-A149-C045-B9D6-4D255CBF32CA}">
      <dgm:prSet phldrT="[Text]" phldr="0" custT="1"/>
      <dgm:spPr/>
      <dgm:t>
        <a:bodyPr/>
        <a:lstStyle/>
        <a:p>
          <a:r>
            <a:rPr lang="en-GB" sz="1600" b="1">
              <a:latin typeface="Segoe UI" panose="020B0502040204020203" pitchFamily="34" charset="0"/>
              <a:cs typeface="Segoe UI" panose="020B0502040204020203" pitchFamily="34" charset="0"/>
            </a:rPr>
            <a:t>Teams</a:t>
          </a:r>
        </a:p>
      </dgm:t>
    </dgm:pt>
    <dgm:pt modelId="{E357B014-205A-1D40-9427-9F83BB6D1FC7}" type="parTrans" cxnId="{6421AC9C-AC64-4140-94D3-10217712C786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13E75967-696C-FF4D-BBD7-395594D04C01}" type="sibTrans" cxnId="{6421AC9C-AC64-4140-94D3-10217712C786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A8227080-3A71-2843-B9B3-2944560B6D1C}">
      <dgm:prSet phldrT="[Text]" phldr="0" custT="1"/>
      <dgm:spPr/>
      <dgm:t>
        <a:bodyPr/>
        <a:lstStyle/>
        <a:p>
          <a:r>
            <a:rPr lang="en-GB" sz="1600" b="1">
              <a:latin typeface="Segoe UI" panose="020B0502040204020203" pitchFamily="34" charset="0"/>
              <a:cs typeface="Segoe UI" panose="020B0502040204020203" pitchFamily="34" charset="0"/>
            </a:rPr>
            <a:t>SharePoint</a:t>
          </a:r>
        </a:p>
      </dgm:t>
    </dgm:pt>
    <dgm:pt modelId="{22B46057-0728-3F4A-8F11-13A18CE1DD1A}" type="parTrans" cxnId="{D8A032D6-7E07-284B-A502-E0528C66D307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F9AE9458-F9C3-B84C-8DFD-075AD1BFCCC6}" type="sibTrans" cxnId="{D8A032D6-7E07-284B-A502-E0528C66D307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7AF0BC4C-227E-184B-B1FC-6F11ECF425E7}">
      <dgm:prSet phldrT="[Text]" phldr="0" custT="1"/>
      <dgm:spPr/>
      <dgm:t>
        <a:bodyPr/>
        <a:lstStyle/>
        <a:p>
          <a:r>
            <a:rPr lang="en-GB" sz="1600" b="1" dirty="0">
              <a:latin typeface="Segoe UI" panose="020B0502040204020203" pitchFamily="34" charset="0"/>
              <a:cs typeface="Segoe UI" panose="020B0502040204020203" pitchFamily="34" charset="0"/>
            </a:rPr>
            <a:t>Planner</a:t>
          </a:r>
        </a:p>
      </dgm:t>
    </dgm:pt>
    <dgm:pt modelId="{88B99641-01EC-F44B-B51B-3CBDEF6E9275}" type="parTrans" cxnId="{827A580F-514C-A947-98FD-F6C259AD8DA4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CB21A9C6-F8C9-6B46-948C-03DE093A1598}" type="sibTrans" cxnId="{827A580F-514C-A947-98FD-F6C259AD8DA4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4714B7F6-36DE-3E4F-B3FD-A3FB8A51D453}">
      <dgm:prSet phldrT="[Text]" phldr="0" custT="1"/>
      <dgm:spPr/>
      <dgm:t>
        <a:bodyPr/>
        <a:lstStyle/>
        <a:p>
          <a:r>
            <a:rPr lang="en-GB" sz="1600" b="1">
              <a:latin typeface="Segoe UI" panose="020B0502040204020203" pitchFamily="34" charset="0"/>
              <a:cs typeface="Segoe UI" panose="020B0502040204020203" pitchFamily="34" charset="0"/>
            </a:rPr>
            <a:t>Stream</a:t>
          </a:r>
        </a:p>
      </dgm:t>
    </dgm:pt>
    <dgm:pt modelId="{252C4FDB-76AC-1D43-B6BB-EC189F31FFF3}" type="parTrans" cxnId="{0CAA9404-2A67-AC40-9EFE-DA16AB94D152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FFD44D03-36C7-E74A-A289-CF54CD609AE1}" type="sibTrans" cxnId="{0CAA9404-2A67-AC40-9EFE-DA16AB94D152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00832343-4A38-3144-81AD-C85C0DDB52DD}">
      <dgm:prSet phldrT="[Text]" phldr="0" custT="1"/>
      <dgm:spPr/>
      <dgm:t>
        <a:bodyPr/>
        <a:lstStyle/>
        <a:p>
          <a:r>
            <a:rPr lang="en-GB" sz="1600" b="1">
              <a:latin typeface="Segoe UI" panose="020B0502040204020203" pitchFamily="34" charset="0"/>
              <a:cs typeface="Segoe UI" panose="020B0502040204020203" pitchFamily="34" charset="0"/>
            </a:rPr>
            <a:t>Yammer</a:t>
          </a:r>
        </a:p>
      </dgm:t>
    </dgm:pt>
    <dgm:pt modelId="{3AC317CB-2630-1644-933D-7B1BB31FEBC4}" type="parTrans" cxnId="{7D0F1418-ABD8-0C41-AC81-45D9880DE91A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9FEFF4FD-09A6-954E-AC87-138CF0A5CBEF}" type="sibTrans" cxnId="{7D0F1418-ABD8-0C41-AC81-45D9880DE91A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46547F63-86C2-044B-8911-BF37AB7551B1}">
      <dgm:prSet phldrT="[Text]" phldr="0" custT="1"/>
      <dgm:spPr/>
      <dgm:t>
        <a:bodyPr/>
        <a:lstStyle/>
        <a:p>
          <a:r>
            <a:rPr lang="en-GB" sz="1600" b="1">
              <a:latin typeface="Segoe UI" panose="020B0502040204020203" pitchFamily="34" charset="0"/>
              <a:cs typeface="Segoe UI" panose="020B0502040204020203" pitchFamily="34" charset="0"/>
            </a:rPr>
            <a:t>Project</a:t>
          </a:r>
        </a:p>
      </dgm:t>
    </dgm:pt>
    <dgm:pt modelId="{F0BBB284-662B-6144-B2DB-4D8FF78D48DC}" type="parTrans" cxnId="{DBC894C8-30D3-564D-AB25-BCCFA98C6140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4F5CA6ED-6EEC-5D4B-B392-6DD1EC6DC5B2}" type="sibTrans" cxnId="{DBC894C8-30D3-564D-AB25-BCCFA98C6140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44E76AB4-DEC1-5345-8419-8CB75D40EBB3}">
      <dgm:prSet phldrT="[Text]" phldr="0" custT="1"/>
      <dgm:spPr/>
      <dgm:t>
        <a:bodyPr/>
        <a:lstStyle/>
        <a:p>
          <a:r>
            <a:rPr lang="en-GB" sz="1600" b="1">
              <a:latin typeface="Segoe UI" panose="020B0502040204020203" pitchFamily="34" charset="0"/>
              <a:cs typeface="Segoe UI" panose="020B0502040204020203" pitchFamily="34" charset="0"/>
            </a:rPr>
            <a:t>Kalender</a:t>
          </a:r>
        </a:p>
      </dgm:t>
    </dgm:pt>
    <dgm:pt modelId="{5377258C-4CC0-9A4A-BE4B-DDB87A70C579}" type="parTrans" cxnId="{19F6DF36-D9C8-964C-8665-DFB5171224AA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2D0C4D4D-76A7-1140-B65A-EA1C8795F721}" type="sibTrans" cxnId="{19F6DF36-D9C8-964C-8665-DFB5171224AA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9FBE72B4-A18A-9647-9FE8-1E7F905A0240}">
      <dgm:prSet phldrT="[Text]" phldr="0" custT="1"/>
      <dgm:spPr/>
      <dgm:t>
        <a:bodyPr/>
        <a:lstStyle/>
        <a:p>
          <a:r>
            <a:rPr lang="en-GB" sz="1600" b="1">
              <a:latin typeface="Segoe UI" panose="020B0502040204020203" pitchFamily="34" charset="0"/>
              <a:cs typeface="Segoe UI" panose="020B0502040204020203" pitchFamily="34" charset="0"/>
            </a:rPr>
            <a:t>OneNote</a:t>
          </a:r>
        </a:p>
      </dgm:t>
    </dgm:pt>
    <dgm:pt modelId="{41785E3E-56A4-9848-A98C-605AE5D9EEC1}" type="parTrans" cxnId="{B89A0802-AEDB-FA41-87C1-A66DC102BEA1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8D9393D1-1033-9A48-9033-17983BBCED0C}" type="sibTrans" cxnId="{B89A0802-AEDB-FA41-87C1-A66DC102BEA1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EF9324CA-8E31-1B4F-9A5A-7DDD88113D36}">
      <dgm:prSet phldrT="[Text]" phldr="0" custT="1"/>
      <dgm:spPr/>
      <dgm:t>
        <a:bodyPr/>
        <a:lstStyle/>
        <a:p>
          <a:r>
            <a:rPr lang="en-GB" sz="1600" b="1">
              <a:latin typeface="Segoe UI" panose="020B0502040204020203" pitchFamily="34" charset="0"/>
              <a:cs typeface="Segoe UI" panose="020B0502040204020203" pitchFamily="34" charset="0"/>
            </a:rPr>
            <a:t>Power BI</a:t>
          </a:r>
        </a:p>
      </dgm:t>
    </dgm:pt>
    <dgm:pt modelId="{6EA118C8-8D6C-A64F-B847-BCC71F939B8F}" type="parTrans" cxnId="{039914D1-700B-3A42-A525-525A794E613C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801E60C7-E592-AF44-8A61-2D7946239C74}" type="sibTrans" cxnId="{039914D1-700B-3A42-A525-525A794E613C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902C6078-FB4D-0740-8FA5-8ADBDE3C534C}">
      <dgm:prSet phldrT="[Text]" phldr="0" custT="1"/>
      <dgm:spPr/>
      <dgm:t>
        <a:bodyPr/>
        <a:lstStyle/>
        <a:p>
          <a:r>
            <a:rPr lang="en-GB" sz="1600" b="1" dirty="0">
              <a:latin typeface="Segoe UI" panose="020B0502040204020203" pitchFamily="34" charset="0"/>
              <a:cs typeface="Segoe UI" panose="020B0502040204020203" pitchFamily="34" charset="0"/>
            </a:rPr>
            <a:t>Outlook</a:t>
          </a:r>
        </a:p>
      </dgm:t>
    </dgm:pt>
    <dgm:pt modelId="{17CB132C-C5B2-DF4F-B7D0-7077BC401BF3}" type="parTrans" cxnId="{D5CF5B99-1565-CE46-8D28-40D902ED7B96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B854BB9A-6AB5-E04A-A61C-C328B1CCC808}" type="sibTrans" cxnId="{D5CF5B99-1565-CE46-8D28-40D902ED7B96}">
      <dgm:prSet/>
      <dgm:spPr/>
      <dgm:t>
        <a:bodyPr/>
        <a:lstStyle/>
        <a:p>
          <a:endParaRPr lang="en-GB" sz="110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FA1B0101-513B-D247-A2EC-E2548227B1F7}" type="pres">
      <dgm:prSet presAssocID="{023C624C-0D04-E54F-B446-75C8DE1BF310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224440C0-7557-3C44-BAB7-50EA4B646749}" type="pres">
      <dgm:prSet presAssocID="{E716B5C4-DA53-9745-961C-AEE0C421D7D9}" presName="centerShape" presStyleLbl="node0" presStyleIdx="0" presStyleCnt="1" custScaleX="153248" custScaleY="143432"/>
      <dgm:spPr/>
    </dgm:pt>
    <dgm:pt modelId="{6EDB0F23-1D42-8540-AE91-D67F44D7A5B5}" type="pres">
      <dgm:prSet presAssocID="{17CB132C-C5B2-DF4F-B7D0-7077BC401BF3}" presName="parTrans" presStyleLbl="bgSibTrans2D1" presStyleIdx="0" presStyleCnt="10"/>
      <dgm:spPr/>
    </dgm:pt>
    <dgm:pt modelId="{DE9E5130-14B5-D146-BD6A-A07CA232ADCE}" type="pres">
      <dgm:prSet presAssocID="{902C6078-FB4D-0740-8FA5-8ADBDE3C534C}" presName="node" presStyleLbl="node1" presStyleIdx="0" presStyleCnt="10">
        <dgm:presLayoutVars>
          <dgm:bulletEnabled val="1"/>
        </dgm:presLayoutVars>
      </dgm:prSet>
      <dgm:spPr/>
    </dgm:pt>
    <dgm:pt modelId="{38EC8AB3-0F31-F843-860A-40943B1E06D0}" type="pres">
      <dgm:prSet presAssocID="{E357B014-205A-1D40-9427-9F83BB6D1FC7}" presName="parTrans" presStyleLbl="bgSibTrans2D1" presStyleIdx="1" presStyleCnt="10"/>
      <dgm:spPr/>
    </dgm:pt>
    <dgm:pt modelId="{E7B8A2BD-44A0-0A46-BC3E-20A04344DC07}" type="pres">
      <dgm:prSet presAssocID="{BF17F3D1-A149-C045-B9D6-4D255CBF32CA}" presName="node" presStyleLbl="node1" presStyleIdx="1" presStyleCnt="10">
        <dgm:presLayoutVars>
          <dgm:bulletEnabled val="1"/>
        </dgm:presLayoutVars>
      </dgm:prSet>
      <dgm:spPr/>
    </dgm:pt>
    <dgm:pt modelId="{7B798C36-CAB2-F144-8624-72E4B549AB7D}" type="pres">
      <dgm:prSet presAssocID="{22B46057-0728-3F4A-8F11-13A18CE1DD1A}" presName="parTrans" presStyleLbl="bgSibTrans2D1" presStyleIdx="2" presStyleCnt="10"/>
      <dgm:spPr/>
    </dgm:pt>
    <dgm:pt modelId="{B35A4BEA-7295-A745-B6C2-4B25BFEFAB6D}" type="pres">
      <dgm:prSet presAssocID="{A8227080-3A71-2843-B9B3-2944560B6D1C}" presName="node" presStyleLbl="node1" presStyleIdx="2" presStyleCnt="10" custScaleX="142876" custScaleY="83916">
        <dgm:presLayoutVars>
          <dgm:bulletEnabled val="1"/>
        </dgm:presLayoutVars>
      </dgm:prSet>
      <dgm:spPr/>
    </dgm:pt>
    <dgm:pt modelId="{17EC662E-C228-7F4D-875A-991EB5E42607}" type="pres">
      <dgm:prSet presAssocID="{88B99641-01EC-F44B-B51B-3CBDEF6E9275}" presName="parTrans" presStyleLbl="bgSibTrans2D1" presStyleIdx="3" presStyleCnt="10"/>
      <dgm:spPr/>
    </dgm:pt>
    <dgm:pt modelId="{501AEBB7-46A7-214F-B6D0-4D9A28A02408}" type="pres">
      <dgm:prSet presAssocID="{7AF0BC4C-227E-184B-B1FC-6F11ECF425E7}" presName="node" presStyleLbl="node1" presStyleIdx="3" presStyleCnt="10">
        <dgm:presLayoutVars>
          <dgm:bulletEnabled val="1"/>
        </dgm:presLayoutVars>
      </dgm:prSet>
      <dgm:spPr/>
    </dgm:pt>
    <dgm:pt modelId="{7BAFE66F-3846-B84A-BC96-D8CBFC3264FD}" type="pres">
      <dgm:prSet presAssocID="{252C4FDB-76AC-1D43-B6BB-EC189F31FFF3}" presName="parTrans" presStyleLbl="bgSibTrans2D1" presStyleIdx="4" presStyleCnt="10"/>
      <dgm:spPr/>
    </dgm:pt>
    <dgm:pt modelId="{6E26368E-5457-DF40-9261-DE9104C942F3}" type="pres">
      <dgm:prSet presAssocID="{4714B7F6-36DE-3E4F-B3FD-A3FB8A51D453}" presName="node" presStyleLbl="node1" presStyleIdx="4" presStyleCnt="10">
        <dgm:presLayoutVars>
          <dgm:bulletEnabled val="1"/>
        </dgm:presLayoutVars>
      </dgm:prSet>
      <dgm:spPr/>
    </dgm:pt>
    <dgm:pt modelId="{60D8EAAE-662A-A945-B15F-061B9B388073}" type="pres">
      <dgm:prSet presAssocID="{3AC317CB-2630-1644-933D-7B1BB31FEBC4}" presName="parTrans" presStyleLbl="bgSibTrans2D1" presStyleIdx="5" presStyleCnt="10"/>
      <dgm:spPr/>
    </dgm:pt>
    <dgm:pt modelId="{5011C617-C75A-E640-8FCE-1CBCF793E1EB}" type="pres">
      <dgm:prSet presAssocID="{00832343-4A38-3144-81AD-C85C0DDB52DD}" presName="node" presStyleLbl="node1" presStyleIdx="5" presStyleCnt="10" custScaleX="128757">
        <dgm:presLayoutVars>
          <dgm:bulletEnabled val="1"/>
        </dgm:presLayoutVars>
      </dgm:prSet>
      <dgm:spPr/>
    </dgm:pt>
    <dgm:pt modelId="{792B9EE2-8892-2949-9050-EA3047AE4770}" type="pres">
      <dgm:prSet presAssocID="{F0BBB284-662B-6144-B2DB-4D8FF78D48DC}" presName="parTrans" presStyleLbl="bgSibTrans2D1" presStyleIdx="6" presStyleCnt="10"/>
      <dgm:spPr/>
    </dgm:pt>
    <dgm:pt modelId="{6D83FD12-3662-5E41-B4C7-036E119DCC7D}" type="pres">
      <dgm:prSet presAssocID="{46547F63-86C2-044B-8911-BF37AB7551B1}" presName="node" presStyleLbl="node1" presStyleIdx="6" presStyleCnt="10">
        <dgm:presLayoutVars>
          <dgm:bulletEnabled val="1"/>
        </dgm:presLayoutVars>
      </dgm:prSet>
      <dgm:spPr/>
    </dgm:pt>
    <dgm:pt modelId="{E5D46A74-01FE-8E48-93BC-F1E7652E94A0}" type="pres">
      <dgm:prSet presAssocID="{5377258C-4CC0-9A4A-BE4B-DDB87A70C579}" presName="parTrans" presStyleLbl="bgSibTrans2D1" presStyleIdx="7" presStyleCnt="10"/>
      <dgm:spPr/>
    </dgm:pt>
    <dgm:pt modelId="{C46C28ED-8CC1-6842-AE90-BFBE92688559}" type="pres">
      <dgm:prSet presAssocID="{44E76AB4-DEC1-5345-8419-8CB75D40EBB3}" presName="node" presStyleLbl="node1" presStyleIdx="7" presStyleCnt="10" custScaleX="134185">
        <dgm:presLayoutVars>
          <dgm:bulletEnabled val="1"/>
        </dgm:presLayoutVars>
      </dgm:prSet>
      <dgm:spPr/>
    </dgm:pt>
    <dgm:pt modelId="{8E590A10-DDC6-3845-83FA-8B0BBFB9954E}" type="pres">
      <dgm:prSet presAssocID="{41785E3E-56A4-9848-A98C-605AE5D9EEC1}" presName="parTrans" presStyleLbl="bgSibTrans2D1" presStyleIdx="8" presStyleCnt="10"/>
      <dgm:spPr/>
    </dgm:pt>
    <dgm:pt modelId="{85417709-C394-B74C-84FD-C8A692427ABA}" type="pres">
      <dgm:prSet presAssocID="{9FBE72B4-A18A-9647-9FE8-1E7F905A0240}" presName="node" presStyleLbl="node1" presStyleIdx="8" presStyleCnt="10" custScaleX="125355">
        <dgm:presLayoutVars>
          <dgm:bulletEnabled val="1"/>
        </dgm:presLayoutVars>
      </dgm:prSet>
      <dgm:spPr/>
    </dgm:pt>
    <dgm:pt modelId="{325BE13D-C7F4-4476-8455-B47B73BBC395}" type="pres">
      <dgm:prSet presAssocID="{6EA118C8-8D6C-A64F-B847-BCC71F939B8F}" presName="parTrans" presStyleLbl="bgSibTrans2D1" presStyleIdx="9" presStyleCnt="10"/>
      <dgm:spPr/>
    </dgm:pt>
    <dgm:pt modelId="{5F47106E-E5F0-4105-82D5-9BC3E38C337C}" type="pres">
      <dgm:prSet presAssocID="{EF9324CA-8E31-1B4F-9A5A-7DDD88113D36}" presName="node" presStyleLbl="node1" presStyleIdx="9" presStyleCnt="10">
        <dgm:presLayoutVars>
          <dgm:bulletEnabled val="1"/>
        </dgm:presLayoutVars>
      </dgm:prSet>
      <dgm:spPr/>
    </dgm:pt>
  </dgm:ptLst>
  <dgm:cxnLst>
    <dgm:cxn modelId="{B89A0802-AEDB-FA41-87C1-A66DC102BEA1}" srcId="{E716B5C4-DA53-9745-961C-AEE0C421D7D9}" destId="{9FBE72B4-A18A-9647-9FE8-1E7F905A0240}" srcOrd="8" destOrd="0" parTransId="{41785E3E-56A4-9848-A98C-605AE5D9EEC1}" sibTransId="{8D9393D1-1033-9A48-9033-17983BBCED0C}"/>
    <dgm:cxn modelId="{0CAA9404-2A67-AC40-9EFE-DA16AB94D152}" srcId="{E716B5C4-DA53-9745-961C-AEE0C421D7D9}" destId="{4714B7F6-36DE-3E4F-B3FD-A3FB8A51D453}" srcOrd="4" destOrd="0" parTransId="{252C4FDB-76AC-1D43-B6BB-EC189F31FFF3}" sibTransId="{FFD44D03-36C7-E74A-A289-CF54CD609AE1}"/>
    <dgm:cxn modelId="{B2DF6F05-3D56-464F-A612-5C2A6B5AEEC2}" type="presOf" srcId="{252C4FDB-76AC-1D43-B6BB-EC189F31FFF3}" destId="{7BAFE66F-3846-B84A-BC96-D8CBFC3264FD}" srcOrd="0" destOrd="0" presId="urn:microsoft.com/office/officeart/2005/8/layout/radial4"/>
    <dgm:cxn modelId="{827A580F-514C-A947-98FD-F6C259AD8DA4}" srcId="{E716B5C4-DA53-9745-961C-AEE0C421D7D9}" destId="{7AF0BC4C-227E-184B-B1FC-6F11ECF425E7}" srcOrd="3" destOrd="0" parTransId="{88B99641-01EC-F44B-B51B-3CBDEF6E9275}" sibTransId="{CB21A9C6-F8C9-6B46-948C-03DE093A1598}"/>
    <dgm:cxn modelId="{DBE44A16-9891-4ECD-9DD2-06DFE6136900}" type="presOf" srcId="{44E76AB4-DEC1-5345-8419-8CB75D40EBB3}" destId="{C46C28ED-8CC1-6842-AE90-BFBE92688559}" srcOrd="0" destOrd="0" presId="urn:microsoft.com/office/officeart/2005/8/layout/radial4"/>
    <dgm:cxn modelId="{7D0F1418-ABD8-0C41-AC81-45D9880DE91A}" srcId="{E716B5C4-DA53-9745-961C-AEE0C421D7D9}" destId="{00832343-4A38-3144-81AD-C85C0DDB52DD}" srcOrd="5" destOrd="0" parTransId="{3AC317CB-2630-1644-933D-7B1BB31FEBC4}" sibTransId="{9FEFF4FD-09A6-954E-AC87-138CF0A5CBEF}"/>
    <dgm:cxn modelId="{942E631E-99EA-4775-B64B-064CD188FEBB}" type="presOf" srcId="{902C6078-FB4D-0740-8FA5-8ADBDE3C534C}" destId="{DE9E5130-14B5-D146-BD6A-A07CA232ADCE}" srcOrd="0" destOrd="0" presId="urn:microsoft.com/office/officeart/2005/8/layout/radial4"/>
    <dgm:cxn modelId="{2D355B31-B299-4427-B0B3-69327BEE570A}" type="presOf" srcId="{6EA118C8-8D6C-A64F-B847-BCC71F939B8F}" destId="{325BE13D-C7F4-4476-8455-B47B73BBC395}" srcOrd="0" destOrd="0" presId="urn:microsoft.com/office/officeart/2005/8/layout/radial4"/>
    <dgm:cxn modelId="{0135CC32-30AB-C34A-AC57-1D32419B4700}" type="presOf" srcId="{023C624C-0D04-E54F-B446-75C8DE1BF310}" destId="{FA1B0101-513B-D247-A2EC-E2548227B1F7}" srcOrd="0" destOrd="0" presId="urn:microsoft.com/office/officeart/2005/8/layout/radial4"/>
    <dgm:cxn modelId="{19F6DF36-D9C8-964C-8665-DFB5171224AA}" srcId="{E716B5C4-DA53-9745-961C-AEE0C421D7D9}" destId="{44E76AB4-DEC1-5345-8419-8CB75D40EBB3}" srcOrd="7" destOrd="0" parTransId="{5377258C-4CC0-9A4A-BE4B-DDB87A70C579}" sibTransId="{2D0C4D4D-76A7-1140-B65A-EA1C8795F721}"/>
    <dgm:cxn modelId="{14B32D3F-999E-46B0-9D0C-C752D5BD1257}" type="presOf" srcId="{BF17F3D1-A149-C045-B9D6-4D255CBF32CA}" destId="{E7B8A2BD-44A0-0A46-BC3E-20A04344DC07}" srcOrd="0" destOrd="0" presId="urn:microsoft.com/office/officeart/2005/8/layout/radial4"/>
    <dgm:cxn modelId="{B93E2460-B35E-4FF3-8715-D629B7139362}" type="presOf" srcId="{88B99641-01EC-F44B-B51B-3CBDEF6E9275}" destId="{17EC662E-C228-7F4D-875A-991EB5E42607}" srcOrd="0" destOrd="0" presId="urn:microsoft.com/office/officeart/2005/8/layout/radial4"/>
    <dgm:cxn modelId="{700B6860-B3D9-4BAA-A25C-FA208E87F062}" type="presOf" srcId="{E357B014-205A-1D40-9427-9F83BB6D1FC7}" destId="{38EC8AB3-0F31-F843-860A-40943B1E06D0}" srcOrd="0" destOrd="0" presId="urn:microsoft.com/office/officeart/2005/8/layout/radial4"/>
    <dgm:cxn modelId="{7D832645-0FD0-4422-9E59-10F40EAC1A52}" type="presOf" srcId="{EF9324CA-8E31-1B4F-9A5A-7DDD88113D36}" destId="{5F47106E-E5F0-4105-82D5-9BC3E38C337C}" srcOrd="0" destOrd="0" presId="urn:microsoft.com/office/officeart/2005/8/layout/radial4"/>
    <dgm:cxn modelId="{CF8B8668-1F42-40EB-B45E-A7C85E999E2C}" type="presOf" srcId="{3AC317CB-2630-1644-933D-7B1BB31FEBC4}" destId="{60D8EAAE-662A-A945-B15F-061B9B388073}" srcOrd="0" destOrd="0" presId="urn:microsoft.com/office/officeart/2005/8/layout/radial4"/>
    <dgm:cxn modelId="{6043B469-0D10-4DFD-BA1E-32316FCB0EE4}" type="presOf" srcId="{F0BBB284-662B-6144-B2DB-4D8FF78D48DC}" destId="{792B9EE2-8892-2949-9050-EA3047AE4770}" srcOrd="0" destOrd="0" presId="urn:microsoft.com/office/officeart/2005/8/layout/radial4"/>
    <dgm:cxn modelId="{8BDE7C6F-DF51-4809-B3C3-C69C17ED1D70}" type="presOf" srcId="{7AF0BC4C-227E-184B-B1FC-6F11ECF425E7}" destId="{501AEBB7-46A7-214F-B6D0-4D9A28A02408}" srcOrd="0" destOrd="0" presId="urn:microsoft.com/office/officeart/2005/8/layout/radial4"/>
    <dgm:cxn modelId="{7CCE0770-CCFC-4D90-B7D8-F22DC4C387E1}" type="presOf" srcId="{A8227080-3A71-2843-B9B3-2944560B6D1C}" destId="{B35A4BEA-7295-A745-B6C2-4B25BFEFAB6D}" srcOrd="0" destOrd="0" presId="urn:microsoft.com/office/officeart/2005/8/layout/radial4"/>
    <dgm:cxn modelId="{9CC16171-A7B6-4B03-ACC6-B0F384C41476}" type="presOf" srcId="{9FBE72B4-A18A-9647-9FE8-1E7F905A0240}" destId="{85417709-C394-B74C-84FD-C8A692427ABA}" srcOrd="0" destOrd="0" presId="urn:microsoft.com/office/officeart/2005/8/layout/radial4"/>
    <dgm:cxn modelId="{339DF778-6590-4938-B2E1-64C72FD86369}" type="presOf" srcId="{5377258C-4CC0-9A4A-BE4B-DDB87A70C579}" destId="{E5D46A74-01FE-8E48-93BC-F1E7652E94A0}" srcOrd="0" destOrd="0" presId="urn:microsoft.com/office/officeart/2005/8/layout/radial4"/>
    <dgm:cxn modelId="{46455180-9378-4CDD-A1E5-65F13B11AA5A}" type="presOf" srcId="{17CB132C-C5B2-DF4F-B7D0-7077BC401BF3}" destId="{6EDB0F23-1D42-8540-AE91-D67F44D7A5B5}" srcOrd="0" destOrd="0" presId="urn:microsoft.com/office/officeart/2005/8/layout/radial4"/>
    <dgm:cxn modelId="{4DA71B8B-77EF-445E-A9AA-473F7C11C883}" type="presOf" srcId="{E716B5C4-DA53-9745-961C-AEE0C421D7D9}" destId="{224440C0-7557-3C44-BAB7-50EA4B646749}" srcOrd="0" destOrd="0" presId="urn:microsoft.com/office/officeart/2005/8/layout/radial4"/>
    <dgm:cxn modelId="{D5CF5B99-1565-CE46-8D28-40D902ED7B96}" srcId="{E716B5C4-DA53-9745-961C-AEE0C421D7D9}" destId="{902C6078-FB4D-0740-8FA5-8ADBDE3C534C}" srcOrd="0" destOrd="0" parTransId="{17CB132C-C5B2-DF4F-B7D0-7077BC401BF3}" sibTransId="{B854BB9A-6AB5-E04A-A61C-C328B1CCC808}"/>
    <dgm:cxn modelId="{6421AC9C-AC64-4140-94D3-10217712C786}" srcId="{E716B5C4-DA53-9745-961C-AEE0C421D7D9}" destId="{BF17F3D1-A149-C045-B9D6-4D255CBF32CA}" srcOrd="1" destOrd="0" parTransId="{E357B014-205A-1D40-9427-9F83BB6D1FC7}" sibTransId="{13E75967-696C-FF4D-BBD7-395594D04C01}"/>
    <dgm:cxn modelId="{1716B7A6-D3A7-47AF-B7AA-202549A6215C}" type="presOf" srcId="{4714B7F6-36DE-3E4F-B3FD-A3FB8A51D453}" destId="{6E26368E-5457-DF40-9261-DE9104C942F3}" srcOrd="0" destOrd="0" presId="urn:microsoft.com/office/officeart/2005/8/layout/radial4"/>
    <dgm:cxn modelId="{6ABE15B7-643C-4B80-93D4-68B7E0F7176A}" type="presOf" srcId="{22B46057-0728-3F4A-8F11-13A18CE1DD1A}" destId="{7B798C36-CAB2-F144-8624-72E4B549AB7D}" srcOrd="0" destOrd="0" presId="urn:microsoft.com/office/officeart/2005/8/layout/radial4"/>
    <dgm:cxn modelId="{D28656B7-45C3-4802-A3D3-916E1BB00502}" type="presOf" srcId="{00832343-4A38-3144-81AD-C85C0DDB52DD}" destId="{5011C617-C75A-E640-8FCE-1CBCF793E1EB}" srcOrd="0" destOrd="0" presId="urn:microsoft.com/office/officeart/2005/8/layout/radial4"/>
    <dgm:cxn modelId="{DBC894C8-30D3-564D-AB25-BCCFA98C6140}" srcId="{E716B5C4-DA53-9745-961C-AEE0C421D7D9}" destId="{46547F63-86C2-044B-8911-BF37AB7551B1}" srcOrd="6" destOrd="0" parTransId="{F0BBB284-662B-6144-B2DB-4D8FF78D48DC}" sibTransId="{4F5CA6ED-6EEC-5D4B-B392-6DD1EC6DC5B2}"/>
    <dgm:cxn modelId="{039914D1-700B-3A42-A525-525A794E613C}" srcId="{E716B5C4-DA53-9745-961C-AEE0C421D7D9}" destId="{EF9324CA-8E31-1B4F-9A5A-7DDD88113D36}" srcOrd="9" destOrd="0" parTransId="{6EA118C8-8D6C-A64F-B847-BCC71F939B8F}" sibTransId="{801E60C7-E592-AF44-8A61-2D7946239C74}"/>
    <dgm:cxn modelId="{439BBAD5-1EE0-6B4F-B3A0-FDC6B50F9F8A}" srcId="{023C624C-0D04-E54F-B446-75C8DE1BF310}" destId="{E716B5C4-DA53-9745-961C-AEE0C421D7D9}" srcOrd="0" destOrd="0" parTransId="{31BF4B77-73EC-4D45-98ED-3EA45AD9BF08}" sibTransId="{5440BD2E-BB1B-4B4A-8AFF-0D7515C70FA3}"/>
    <dgm:cxn modelId="{D8A032D6-7E07-284B-A502-E0528C66D307}" srcId="{E716B5C4-DA53-9745-961C-AEE0C421D7D9}" destId="{A8227080-3A71-2843-B9B3-2944560B6D1C}" srcOrd="2" destOrd="0" parTransId="{22B46057-0728-3F4A-8F11-13A18CE1DD1A}" sibTransId="{F9AE9458-F9C3-B84C-8DFD-075AD1BFCCC6}"/>
    <dgm:cxn modelId="{8C8B9BEC-3C03-4B5D-9B0F-B455F6498C69}" type="presOf" srcId="{46547F63-86C2-044B-8911-BF37AB7551B1}" destId="{6D83FD12-3662-5E41-B4C7-036E119DCC7D}" srcOrd="0" destOrd="0" presId="urn:microsoft.com/office/officeart/2005/8/layout/radial4"/>
    <dgm:cxn modelId="{763185FA-8EE2-4B43-B2DA-84ABE7503FF8}" type="presOf" srcId="{41785E3E-56A4-9848-A98C-605AE5D9EEC1}" destId="{8E590A10-DDC6-3845-83FA-8B0BBFB9954E}" srcOrd="0" destOrd="0" presId="urn:microsoft.com/office/officeart/2005/8/layout/radial4"/>
    <dgm:cxn modelId="{A2D5E511-C138-462C-863B-79D45623317A}" type="presParOf" srcId="{FA1B0101-513B-D247-A2EC-E2548227B1F7}" destId="{224440C0-7557-3C44-BAB7-50EA4B646749}" srcOrd="0" destOrd="0" presId="urn:microsoft.com/office/officeart/2005/8/layout/radial4"/>
    <dgm:cxn modelId="{7FBFF601-34F2-4EB2-B0F2-3956E6F84E55}" type="presParOf" srcId="{FA1B0101-513B-D247-A2EC-E2548227B1F7}" destId="{6EDB0F23-1D42-8540-AE91-D67F44D7A5B5}" srcOrd="1" destOrd="0" presId="urn:microsoft.com/office/officeart/2005/8/layout/radial4"/>
    <dgm:cxn modelId="{6D9DA8F8-4D1E-4EFA-814E-64A320AAD0E8}" type="presParOf" srcId="{FA1B0101-513B-D247-A2EC-E2548227B1F7}" destId="{DE9E5130-14B5-D146-BD6A-A07CA232ADCE}" srcOrd="2" destOrd="0" presId="urn:microsoft.com/office/officeart/2005/8/layout/radial4"/>
    <dgm:cxn modelId="{C21FB83B-D761-4624-920A-19EBD389A456}" type="presParOf" srcId="{FA1B0101-513B-D247-A2EC-E2548227B1F7}" destId="{38EC8AB3-0F31-F843-860A-40943B1E06D0}" srcOrd="3" destOrd="0" presId="urn:microsoft.com/office/officeart/2005/8/layout/radial4"/>
    <dgm:cxn modelId="{5BBE98FC-4F28-45E3-B4FF-3D63919B6C9D}" type="presParOf" srcId="{FA1B0101-513B-D247-A2EC-E2548227B1F7}" destId="{E7B8A2BD-44A0-0A46-BC3E-20A04344DC07}" srcOrd="4" destOrd="0" presId="urn:microsoft.com/office/officeart/2005/8/layout/radial4"/>
    <dgm:cxn modelId="{DA9B0E11-4799-4BA3-8DC1-5D356506A2E3}" type="presParOf" srcId="{FA1B0101-513B-D247-A2EC-E2548227B1F7}" destId="{7B798C36-CAB2-F144-8624-72E4B549AB7D}" srcOrd="5" destOrd="0" presId="urn:microsoft.com/office/officeart/2005/8/layout/radial4"/>
    <dgm:cxn modelId="{66C53113-551C-4323-A387-2B43A46DD22B}" type="presParOf" srcId="{FA1B0101-513B-D247-A2EC-E2548227B1F7}" destId="{B35A4BEA-7295-A745-B6C2-4B25BFEFAB6D}" srcOrd="6" destOrd="0" presId="urn:microsoft.com/office/officeart/2005/8/layout/radial4"/>
    <dgm:cxn modelId="{CF360C11-D0F8-4443-BB68-2755F076E2F9}" type="presParOf" srcId="{FA1B0101-513B-D247-A2EC-E2548227B1F7}" destId="{17EC662E-C228-7F4D-875A-991EB5E42607}" srcOrd="7" destOrd="0" presId="urn:microsoft.com/office/officeart/2005/8/layout/radial4"/>
    <dgm:cxn modelId="{2EB3FEB5-058E-487B-94F3-3FCF48D15A69}" type="presParOf" srcId="{FA1B0101-513B-D247-A2EC-E2548227B1F7}" destId="{501AEBB7-46A7-214F-B6D0-4D9A28A02408}" srcOrd="8" destOrd="0" presId="urn:microsoft.com/office/officeart/2005/8/layout/radial4"/>
    <dgm:cxn modelId="{0DE2095F-6A04-4E87-BDEC-C7C4C994B389}" type="presParOf" srcId="{FA1B0101-513B-D247-A2EC-E2548227B1F7}" destId="{7BAFE66F-3846-B84A-BC96-D8CBFC3264FD}" srcOrd="9" destOrd="0" presId="urn:microsoft.com/office/officeart/2005/8/layout/radial4"/>
    <dgm:cxn modelId="{C781FA3B-DED1-47AF-81C7-32F30A0365F9}" type="presParOf" srcId="{FA1B0101-513B-D247-A2EC-E2548227B1F7}" destId="{6E26368E-5457-DF40-9261-DE9104C942F3}" srcOrd="10" destOrd="0" presId="urn:microsoft.com/office/officeart/2005/8/layout/radial4"/>
    <dgm:cxn modelId="{29C85D36-D12B-4C6E-BA00-E926B68E1BA5}" type="presParOf" srcId="{FA1B0101-513B-D247-A2EC-E2548227B1F7}" destId="{60D8EAAE-662A-A945-B15F-061B9B388073}" srcOrd="11" destOrd="0" presId="urn:microsoft.com/office/officeart/2005/8/layout/radial4"/>
    <dgm:cxn modelId="{27243168-F4B9-40E6-A8A0-833B21969275}" type="presParOf" srcId="{FA1B0101-513B-D247-A2EC-E2548227B1F7}" destId="{5011C617-C75A-E640-8FCE-1CBCF793E1EB}" srcOrd="12" destOrd="0" presId="urn:microsoft.com/office/officeart/2005/8/layout/radial4"/>
    <dgm:cxn modelId="{6E959217-1087-4921-8EB3-61A280DAA826}" type="presParOf" srcId="{FA1B0101-513B-D247-A2EC-E2548227B1F7}" destId="{792B9EE2-8892-2949-9050-EA3047AE4770}" srcOrd="13" destOrd="0" presId="urn:microsoft.com/office/officeart/2005/8/layout/radial4"/>
    <dgm:cxn modelId="{EDB522AF-435D-45DE-B07B-4B5E75E41457}" type="presParOf" srcId="{FA1B0101-513B-D247-A2EC-E2548227B1F7}" destId="{6D83FD12-3662-5E41-B4C7-036E119DCC7D}" srcOrd="14" destOrd="0" presId="urn:microsoft.com/office/officeart/2005/8/layout/radial4"/>
    <dgm:cxn modelId="{840A14C8-EF8F-4F40-A2F8-DE8D279CDCE4}" type="presParOf" srcId="{FA1B0101-513B-D247-A2EC-E2548227B1F7}" destId="{E5D46A74-01FE-8E48-93BC-F1E7652E94A0}" srcOrd="15" destOrd="0" presId="urn:microsoft.com/office/officeart/2005/8/layout/radial4"/>
    <dgm:cxn modelId="{B11B5508-552C-4946-A51E-220A4D97BE3A}" type="presParOf" srcId="{FA1B0101-513B-D247-A2EC-E2548227B1F7}" destId="{C46C28ED-8CC1-6842-AE90-BFBE92688559}" srcOrd="16" destOrd="0" presId="urn:microsoft.com/office/officeart/2005/8/layout/radial4"/>
    <dgm:cxn modelId="{24527C8A-7DF2-4800-8F69-79C254785915}" type="presParOf" srcId="{FA1B0101-513B-D247-A2EC-E2548227B1F7}" destId="{8E590A10-DDC6-3845-83FA-8B0BBFB9954E}" srcOrd="17" destOrd="0" presId="urn:microsoft.com/office/officeart/2005/8/layout/radial4"/>
    <dgm:cxn modelId="{900EF2C4-B225-4B77-A81F-20778579CE07}" type="presParOf" srcId="{FA1B0101-513B-D247-A2EC-E2548227B1F7}" destId="{85417709-C394-B74C-84FD-C8A692427ABA}" srcOrd="18" destOrd="0" presId="urn:microsoft.com/office/officeart/2005/8/layout/radial4"/>
    <dgm:cxn modelId="{AE52D501-325E-4AC0-BFF3-A966BAEE837D}" type="presParOf" srcId="{FA1B0101-513B-D247-A2EC-E2548227B1F7}" destId="{325BE13D-C7F4-4476-8455-B47B73BBC395}" srcOrd="19" destOrd="0" presId="urn:microsoft.com/office/officeart/2005/8/layout/radial4"/>
    <dgm:cxn modelId="{093D9B19-D03E-4B7E-95A8-50AFA92C79CC}" type="presParOf" srcId="{FA1B0101-513B-D247-A2EC-E2548227B1F7}" destId="{5F47106E-E5F0-4105-82D5-9BC3E38C337C}" srcOrd="20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3802228-14AA-7042-B203-6F18BD5F4775}" type="doc">
      <dgm:prSet loTypeId="urn:microsoft.com/office/officeart/2005/8/layout/lProcess2" loCatId="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42859F9E-279B-324A-B7E8-61D756839FCC}">
      <dgm:prSet phldrT="[Text]" phldr="0" custT="1"/>
      <dgm:spPr>
        <a:xfrm>
          <a:off x="1123" y="0"/>
          <a:ext cx="2921823" cy="5208435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en-GB" sz="1600" b="1" dirty="0">
              <a:latin typeface="Segoe UI"/>
              <a:ea typeface="+mn-ea"/>
              <a:cs typeface="+mn-cs"/>
            </a:rPr>
            <a:t>Microsoft 365 Gruppen</a:t>
          </a:r>
        </a:p>
      </dgm:t>
    </dgm:pt>
    <dgm:pt modelId="{6BD77C4B-1A67-2348-81BE-54B62BAA4A59}" type="parTrans" cxnId="{41DEF00A-6B02-0547-9746-13F08F4ED80E}">
      <dgm:prSet/>
      <dgm:spPr/>
      <dgm:t>
        <a:bodyPr/>
        <a:lstStyle/>
        <a:p>
          <a:endParaRPr lang="en-GB"/>
        </a:p>
      </dgm:t>
    </dgm:pt>
    <dgm:pt modelId="{82CC64C9-DE62-D645-9B1E-FF3A3F30CBDD}" type="sibTrans" cxnId="{41DEF00A-6B02-0547-9746-13F08F4ED80E}">
      <dgm:prSet/>
      <dgm:spPr/>
      <dgm:t>
        <a:bodyPr/>
        <a:lstStyle/>
        <a:p>
          <a:endParaRPr lang="en-GB"/>
        </a:p>
      </dgm:t>
    </dgm:pt>
    <dgm:pt modelId="{92513CC2-A95C-4442-AAB4-C8D5FD7A1475}">
      <dgm:prSet phldrT="[Text]" phldr="0" custT="1"/>
      <dgm:spPr>
        <a:xfrm>
          <a:off x="293306" y="1562530"/>
          <a:ext cx="2337459" cy="3385482"/>
        </a:xfrm>
        <a:prstGeom prst="roundRect">
          <a:avLst>
            <a:gd name="adj" fmla="val 10000"/>
          </a:avLst>
        </a:prstGeom>
      </dgm:spPr>
      <dgm:t>
        <a:bodyPr anchor="t"/>
        <a:lstStyle/>
        <a:p>
          <a:pPr algn="l">
            <a:buNone/>
          </a:pPr>
          <a:r>
            <a:rPr lang="de-DE" sz="900" b="0" dirty="0">
              <a:latin typeface="Segoe UI"/>
              <a:ea typeface="+mn-ea"/>
              <a:cs typeface="+mn-cs"/>
            </a:rPr>
            <a:t>Zusammenarbeit in geteilten Microsoft 365 Arbeitsbereichen</a:t>
          </a:r>
        </a:p>
      </dgm:t>
    </dgm:pt>
    <dgm:pt modelId="{B90D2AF3-99E8-1149-9358-E94ADB752892}" type="parTrans" cxnId="{5521AB38-E473-2344-A536-E1A8AC2EDD47}">
      <dgm:prSet/>
      <dgm:spPr/>
      <dgm:t>
        <a:bodyPr/>
        <a:lstStyle/>
        <a:p>
          <a:endParaRPr lang="en-GB"/>
        </a:p>
      </dgm:t>
    </dgm:pt>
    <dgm:pt modelId="{ED4E0AC5-23D4-2346-8BB1-5237388ABBBB}" type="sibTrans" cxnId="{5521AB38-E473-2344-A536-E1A8AC2EDD47}">
      <dgm:prSet/>
      <dgm:spPr/>
      <dgm:t>
        <a:bodyPr/>
        <a:lstStyle/>
        <a:p>
          <a:endParaRPr lang="en-GB"/>
        </a:p>
      </dgm:t>
    </dgm:pt>
    <dgm:pt modelId="{09BD38BC-CF17-FC41-A565-CDC57E3F94A9}">
      <dgm:prSet phldrT="[Text]" phldr="0" custT="1"/>
      <dgm:spPr>
        <a:xfrm>
          <a:off x="3142084" y="0"/>
          <a:ext cx="2921823" cy="5208435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de-DE" sz="1600" b="1" dirty="0">
              <a:latin typeface="Segoe UI"/>
              <a:ea typeface="+mn-ea"/>
              <a:cs typeface="+mn-cs"/>
            </a:rPr>
            <a:t>Sicherheits-gruppen</a:t>
          </a:r>
        </a:p>
      </dgm:t>
    </dgm:pt>
    <dgm:pt modelId="{EDA7AD70-C4BD-1C4C-90FE-DC95A8131A07}" type="parTrans" cxnId="{52E93C1D-710C-9543-90D2-C3D72F863101}">
      <dgm:prSet/>
      <dgm:spPr/>
      <dgm:t>
        <a:bodyPr/>
        <a:lstStyle/>
        <a:p>
          <a:endParaRPr lang="en-GB"/>
        </a:p>
      </dgm:t>
    </dgm:pt>
    <dgm:pt modelId="{2D567190-9E0F-BD48-9A83-406176D22F26}" type="sibTrans" cxnId="{52E93C1D-710C-9543-90D2-C3D72F863101}">
      <dgm:prSet/>
      <dgm:spPr/>
      <dgm:t>
        <a:bodyPr/>
        <a:lstStyle/>
        <a:p>
          <a:endParaRPr lang="en-GB"/>
        </a:p>
      </dgm:t>
    </dgm:pt>
    <dgm:pt modelId="{28C9EE4C-CAC4-3D47-BEAA-2115FF8E693F}">
      <dgm:prSet phldrT="[Text]" phldr="0" custT="1"/>
      <dgm:spPr>
        <a:xfrm>
          <a:off x="3434266" y="1562530"/>
          <a:ext cx="2337459" cy="3385482"/>
        </a:xfrm>
        <a:prstGeom prst="roundRect">
          <a:avLst>
            <a:gd name="adj" fmla="val 10000"/>
          </a:avLst>
        </a:prstGeom>
      </dgm:spPr>
      <dgm:t>
        <a:bodyPr anchor="t"/>
        <a:lstStyle/>
        <a:p>
          <a:pPr algn="l">
            <a:buNone/>
          </a:pPr>
          <a:r>
            <a:rPr lang="de-DE" sz="900" b="0">
              <a:latin typeface="Segoe UI"/>
              <a:ea typeface="+mn-ea"/>
              <a:cs typeface="+mn-cs"/>
            </a:rPr>
            <a:t>Zugriffssteuerung für Ressourcen und Geräte</a:t>
          </a:r>
        </a:p>
      </dgm:t>
    </dgm:pt>
    <dgm:pt modelId="{42A1047B-3B54-2D46-9435-7938F36986BB}" type="parTrans" cxnId="{CA4D21E7-A8F8-EE4C-A966-87BEB9B2DD2F}">
      <dgm:prSet/>
      <dgm:spPr/>
      <dgm:t>
        <a:bodyPr/>
        <a:lstStyle/>
        <a:p>
          <a:endParaRPr lang="en-GB"/>
        </a:p>
      </dgm:t>
    </dgm:pt>
    <dgm:pt modelId="{A087E3F9-7D90-7542-B7B1-0CCB234F4DE6}" type="sibTrans" cxnId="{CA4D21E7-A8F8-EE4C-A966-87BEB9B2DD2F}">
      <dgm:prSet/>
      <dgm:spPr/>
      <dgm:t>
        <a:bodyPr/>
        <a:lstStyle/>
        <a:p>
          <a:endParaRPr lang="en-GB"/>
        </a:p>
      </dgm:t>
    </dgm:pt>
    <dgm:pt modelId="{8D49DACF-926F-7B4E-92BB-AF2D0E553D16}">
      <dgm:prSet phldrT="[Text]" phldr="0" custT="1"/>
      <dgm:spPr>
        <a:xfrm>
          <a:off x="6283045" y="0"/>
          <a:ext cx="2921823" cy="5208435"/>
        </a:xfrm>
        <a:prstGeom prst="roundRect">
          <a:avLst>
            <a:gd name="adj" fmla="val 10000"/>
          </a:avLst>
        </a:prstGeom>
      </dgm:spPr>
      <dgm:t>
        <a:bodyPr/>
        <a:lstStyle/>
        <a:p>
          <a:pPr>
            <a:buNone/>
          </a:pPr>
          <a:r>
            <a:rPr lang="de-DE" sz="1600" b="1" dirty="0">
              <a:latin typeface="Segoe UI"/>
              <a:ea typeface="+mn-ea"/>
              <a:cs typeface="+mn-cs"/>
            </a:rPr>
            <a:t>Verteilergruppen</a:t>
          </a:r>
        </a:p>
      </dgm:t>
    </dgm:pt>
    <dgm:pt modelId="{D5FCC991-4703-E64C-85BF-42D396AF7FB8}" type="parTrans" cxnId="{D64D2F80-9CC7-444F-B081-9E599DB94D79}">
      <dgm:prSet/>
      <dgm:spPr/>
      <dgm:t>
        <a:bodyPr/>
        <a:lstStyle/>
        <a:p>
          <a:endParaRPr lang="en-GB"/>
        </a:p>
      </dgm:t>
    </dgm:pt>
    <dgm:pt modelId="{4A521732-285A-2B4A-A47B-5F7BA6894525}" type="sibTrans" cxnId="{D64D2F80-9CC7-444F-B081-9E599DB94D79}">
      <dgm:prSet/>
      <dgm:spPr/>
      <dgm:t>
        <a:bodyPr/>
        <a:lstStyle/>
        <a:p>
          <a:endParaRPr lang="en-GB"/>
        </a:p>
      </dgm:t>
    </dgm:pt>
    <dgm:pt modelId="{E3A04FC2-9689-774D-A24B-3B37DCE6F821}">
      <dgm:prSet phldrT="[Text]" phldr="0" custT="1"/>
      <dgm:spPr>
        <a:xfrm>
          <a:off x="6575227" y="1562530"/>
          <a:ext cx="2337459" cy="3385482"/>
        </a:xfrm>
        <a:prstGeom prst="roundRect">
          <a:avLst>
            <a:gd name="adj" fmla="val 10000"/>
          </a:avLst>
        </a:prstGeom>
      </dgm:spPr>
      <dgm:t>
        <a:bodyPr anchor="t"/>
        <a:lstStyle/>
        <a:p>
          <a:pPr algn="l">
            <a:buNone/>
          </a:pPr>
          <a:r>
            <a:rPr lang="de-DE" sz="900" b="0">
              <a:latin typeface="Segoe UI"/>
              <a:ea typeface="+mn-ea"/>
              <a:cs typeface="+mn-cs"/>
            </a:rPr>
            <a:t>E-Mail-Versand an eine Gruppen von Personen </a:t>
          </a:r>
        </a:p>
      </dgm:t>
    </dgm:pt>
    <dgm:pt modelId="{38A849B0-7005-7342-9C0B-EA88602B2BA1}" type="parTrans" cxnId="{9E29E2E6-4003-2644-80CF-62009A8E244F}">
      <dgm:prSet/>
      <dgm:spPr/>
      <dgm:t>
        <a:bodyPr/>
        <a:lstStyle/>
        <a:p>
          <a:endParaRPr lang="en-GB"/>
        </a:p>
      </dgm:t>
    </dgm:pt>
    <dgm:pt modelId="{0DFC3A38-E0B8-6845-81C0-D7ECA2ABDBD6}" type="sibTrans" cxnId="{9E29E2E6-4003-2644-80CF-62009A8E244F}">
      <dgm:prSet/>
      <dgm:spPr/>
      <dgm:t>
        <a:bodyPr/>
        <a:lstStyle/>
        <a:p>
          <a:endParaRPr lang="en-GB"/>
        </a:p>
      </dgm:t>
    </dgm:pt>
    <dgm:pt modelId="{A739F81B-0B99-47BD-90C3-BCB33EF46C46}">
      <dgm:prSet phldrT="[Text]" phldr="0" custT="1"/>
      <dgm:spPr>
        <a:xfrm>
          <a:off x="6575227" y="1562530"/>
          <a:ext cx="2337459" cy="3385482"/>
        </a:xfrm>
      </dgm:spPr>
      <dgm:t>
        <a:bodyPr/>
        <a:lstStyle/>
        <a:p>
          <a:pPr>
            <a:buNone/>
          </a:pPr>
          <a:r>
            <a:rPr lang="de-DE" sz="1600" b="1" dirty="0">
              <a:latin typeface="Segoe UI"/>
              <a:ea typeface="+mn-ea"/>
              <a:cs typeface="+mn-cs"/>
            </a:rPr>
            <a:t>Freigegebene Postfächer</a:t>
          </a:r>
        </a:p>
      </dgm:t>
    </dgm:pt>
    <dgm:pt modelId="{47F6B63F-EA0E-4A16-B426-10FEAF1A5646}" type="parTrans" cxnId="{9016972F-BC06-4C69-AE0A-44142199B986}">
      <dgm:prSet/>
      <dgm:spPr/>
      <dgm:t>
        <a:bodyPr/>
        <a:lstStyle/>
        <a:p>
          <a:endParaRPr lang="de-DE"/>
        </a:p>
      </dgm:t>
    </dgm:pt>
    <dgm:pt modelId="{A474B60D-B760-4E94-8EB0-2D9C793EEABA}" type="sibTrans" cxnId="{9016972F-BC06-4C69-AE0A-44142199B986}">
      <dgm:prSet/>
      <dgm:spPr/>
      <dgm:t>
        <a:bodyPr/>
        <a:lstStyle/>
        <a:p>
          <a:endParaRPr lang="de-DE"/>
        </a:p>
      </dgm:t>
    </dgm:pt>
    <dgm:pt modelId="{7E55C154-B29B-4358-8E12-833B5AA257A5}">
      <dgm:prSet phldrT="[Text]" phldr="0" custT="1"/>
      <dgm:spPr>
        <a:xfrm>
          <a:off x="6575227" y="1562530"/>
          <a:ext cx="2337459" cy="3385482"/>
        </a:xfrm>
      </dgm:spPr>
      <dgm:t>
        <a:bodyPr anchor="t"/>
        <a:lstStyle/>
        <a:p>
          <a:pPr algn="l">
            <a:buNone/>
          </a:pPr>
          <a:r>
            <a:rPr lang="de-DE" sz="900" b="0">
              <a:latin typeface="Segoe UI"/>
              <a:ea typeface="+mn-ea"/>
              <a:cs typeface="+mn-cs"/>
            </a:rPr>
            <a:t>Freigegebene Postfächer sind ein zusätzliches Werkzeug für eine kontextbezogene und E-Mail-basierte   Zusammenarbeit</a:t>
          </a:r>
        </a:p>
      </dgm:t>
    </dgm:pt>
    <dgm:pt modelId="{5A88BF55-F124-4855-8C07-3C9230588EC4}" type="parTrans" cxnId="{69C6584E-2AB1-42C1-A1B5-C390EA0AE105}">
      <dgm:prSet/>
      <dgm:spPr/>
      <dgm:t>
        <a:bodyPr/>
        <a:lstStyle/>
        <a:p>
          <a:endParaRPr lang="de-DE"/>
        </a:p>
      </dgm:t>
    </dgm:pt>
    <dgm:pt modelId="{C4B1A032-12BD-4A8A-94EE-C27BC90C5BB3}" type="sibTrans" cxnId="{69C6584E-2AB1-42C1-A1B5-C390EA0AE105}">
      <dgm:prSet/>
      <dgm:spPr/>
      <dgm:t>
        <a:bodyPr/>
        <a:lstStyle/>
        <a:p>
          <a:endParaRPr lang="de-DE"/>
        </a:p>
      </dgm:t>
    </dgm:pt>
    <dgm:pt modelId="{7B3502C2-EADC-436A-998B-0DE91ECE44D8}">
      <dgm:prSet phldrT="[Text]" phldr="0" custT="1"/>
      <dgm:spPr>
        <a:xfrm>
          <a:off x="6283045" y="0"/>
          <a:ext cx="2921823" cy="5208435"/>
        </a:xfrm>
      </dgm:spPr>
      <dgm:t>
        <a:bodyPr/>
        <a:lstStyle/>
        <a:p>
          <a:pPr>
            <a:buNone/>
          </a:pPr>
          <a:r>
            <a:rPr lang="de-DE" sz="1600" b="1" dirty="0">
              <a:latin typeface="Segoe UI"/>
              <a:ea typeface="+mn-ea"/>
              <a:cs typeface="+mn-cs"/>
            </a:rPr>
            <a:t>E-Mail-aktivierte Sicherheits-Gruppen</a:t>
          </a:r>
        </a:p>
      </dgm:t>
    </dgm:pt>
    <dgm:pt modelId="{0BF9E777-CD18-4C5C-93FD-45FCEA261C6E}" type="parTrans" cxnId="{40FD0029-7DC1-498B-96B5-60ACB006BA5C}">
      <dgm:prSet/>
      <dgm:spPr/>
      <dgm:t>
        <a:bodyPr/>
        <a:lstStyle/>
        <a:p>
          <a:endParaRPr lang="de-DE"/>
        </a:p>
      </dgm:t>
    </dgm:pt>
    <dgm:pt modelId="{789A528D-79C5-4750-9596-45D56BA203D8}" type="sibTrans" cxnId="{40FD0029-7DC1-498B-96B5-60ACB006BA5C}">
      <dgm:prSet/>
      <dgm:spPr/>
      <dgm:t>
        <a:bodyPr/>
        <a:lstStyle/>
        <a:p>
          <a:endParaRPr lang="de-DE"/>
        </a:p>
      </dgm:t>
    </dgm:pt>
    <dgm:pt modelId="{604CBBDA-5A33-4462-A10A-D1CBB4A57891}">
      <dgm:prSet phldrT="[Text]" phldr="0" custT="1"/>
      <dgm:spPr>
        <a:xfrm>
          <a:off x="6283045" y="0"/>
          <a:ext cx="2921823" cy="5208435"/>
        </a:xfrm>
      </dgm:spPr>
      <dgm:t>
        <a:bodyPr anchor="t"/>
        <a:lstStyle/>
        <a:p>
          <a:pPr algn="l">
            <a:buNone/>
          </a:pPr>
          <a:r>
            <a:rPr lang="de-DE" sz="900" b="0">
              <a:latin typeface="Segoe UI"/>
              <a:ea typeface="+mn-ea"/>
              <a:cs typeface="+mn-cs"/>
            </a:rPr>
            <a:t>Kombination aus einer Sicherheits- und Verteilergruppen</a:t>
          </a:r>
        </a:p>
      </dgm:t>
    </dgm:pt>
    <dgm:pt modelId="{74872B83-0A87-47E2-AB44-B23C92E13760}" type="parTrans" cxnId="{5FB64B95-0F4F-4F8A-A3C0-66B24F05924C}">
      <dgm:prSet/>
      <dgm:spPr/>
      <dgm:t>
        <a:bodyPr/>
        <a:lstStyle/>
        <a:p>
          <a:endParaRPr lang="de-DE"/>
        </a:p>
      </dgm:t>
    </dgm:pt>
    <dgm:pt modelId="{0743FDC1-23FE-456C-958E-152F0AAE4EB7}" type="sibTrans" cxnId="{5FB64B95-0F4F-4F8A-A3C0-66B24F05924C}">
      <dgm:prSet/>
      <dgm:spPr/>
      <dgm:t>
        <a:bodyPr/>
        <a:lstStyle/>
        <a:p>
          <a:endParaRPr lang="de-DE"/>
        </a:p>
      </dgm:t>
    </dgm:pt>
    <dgm:pt modelId="{D8A1F88C-32C0-485A-A859-5D6F7BCEBC48}">
      <dgm:prSet phldrT="[Text]" phldr="0" custT="1"/>
      <dgm:spPr>
        <a:xfrm>
          <a:off x="293306" y="1562530"/>
          <a:ext cx="2337459" cy="3385482"/>
        </a:xfrm>
      </dgm:spPr>
      <dgm:t>
        <a:bodyPr anchor="t"/>
        <a:lstStyle/>
        <a:p>
          <a:pPr algn="l">
            <a:buNone/>
          </a:pPr>
          <a:r>
            <a:rPr lang="de-DE" sz="900" b="0">
              <a:latin typeface="Segoe UI"/>
              <a:ea typeface="+mn-ea"/>
              <a:cs typeface="+mn-cs"/>
            </a:rPr>
            <a:t>Microsoft Teams</a:t>
          </a:r>
        </a:p>
      </dgm:t>
    </dgm:pt>
    <dgm:pt modelId="{913BFD7E-5DBE-48A9-A907-EB4885102B59}" type="parTrans" cxnId="{CA239A86-78BE-4729-8DB7-7B755870B188}">
      <dgm:prSet/>
      <dgm:spPr/>
      <dgm:t>
        <a:bodyPr/>
        <a:lstStyle/>
        <a:p>
          <a:endParaRPr lang="de-DE"/>
        </a:p>
      </dgm:t>
    </dgm:pt>
    <dgm:pt modelId="{4527C124-0D45-4271-A474-6FA2959FD8DB}" type="sibTrans" cxnId="{CA239A86-78BE-4729-8DB7-7B755870B188}">
      <dgm:prSet/>
      <dgm:spPr/>
      <dgm:t>
        <a:bodyPr/>
        <a:lstStyle/>
        <a:p>
          <a:endParaRPr lang="de-DE"/>
        </a:p>
      </dgm:t>
    </dgm:pt>
    <dgm:pt modelId="{038EA55D-1F13-4335-AE4B-51DE8CC8551D}">
      <dgm:prSet phldrT="[Text]" phldr="0" custT="1"/>
      <dgm:spPr>
        <a:xfrm>
          <a:off x="293306" y="1562530"/>
          <a:ext cx="2337459" cy="3385482"/>
        </a:xfrm>
      </dgm:spPr>
      <dgm:t>
        <a:bodyPr anchor="t"/>
        <a:lstStyle/>
        <a:p>
          <a:pPr algn="l">
            <a:buNone/>
          </a:pPr>
          <a:r>
            <a:rPr lang="de-DE" sz="900" b="0">
              <a:latin typeface="Segoe UI"/>
              <a:ea typeface="+mn-ea"/>
              <a:cs typeface="+mn-cs"/>
            </a:rPr>
            <a:t>SharePoint Online</a:t>
          </a:r>
        </a:p>
      </dgm:t>
    </dgm:pt>
    <dgm:pt modelId="{4BB06083-C5EF-4670-B40B-C1F678EFC961}" type="parTrans" cxnId="{4F3CE24A-9312-431F-991F-74DE992ACF25}">
      <dgm:prSet/>
      <dgm:spPr/>
      <dgm:t>
        <a:bodyPr/>
        <a:lstStyle/>
        <a:p>
          <a:endParaRPr lang="de-DE"/>
        </a:p>
      </dgm:t>
    </dgm:pt>
    <dgm:pt modelId="{F58F3B28-8BF2-429E-8F97-D44EE2F6BFC8}" type="sibTrans" cxnId="{4F3CE24A-9312-431F-991F-74DE992ACF25}">
      <dgm:prSet/>
      <dgm:spPr/>
      <dgm:t>
        <a:bodyPr/>
        <a:lstStyle/>
        <a:p>
          <a:endParaRPr lang="de-DE"/>
        </a:p>
      </dgm:t>
    </dgm:pt>
    <dgm:pt modelId="{DA2064FF-DFE9-41D4-8187-E8CCD9B45DF7}">
      <dgm:prSet phldrT="[Text]" phldr="0" custT="1"/>
      <dgm:spPr>
        <a:xfrm>
          <a:off x="293306" y="1562530"/>
          <a:ext cx="2337459" cy="3385482"/>
        </a:xfrm>
      </dgm:spPr>
      <dgm:t>
        <a:bodyPr anchor="t"/>
        <a:lstStyle/>
        <a:p>
          <a:pPr algn="l">
            <a:buNone/>
          </a:pPr>
          <a:r>
            <a:rPr lang="de-DE" sz="900" b="0">
              <a:latin typeface="Segoe UI"/>
              <a:ea typeface="+mn-ea"/>
              <a:cs typeface="+mn-cs"/>
            </a:rPr>
            <a:t>Zuweisung von Labeln</a:t>
          </a:r>
        </a:p>
      </dgm:t>
    </dgm:pt>
    <dgm:pt modelId="{FC32C19A-67EB-49D2-B2D9-277DC8B36060}" type="parTrans" cxnId="{6B4D2FCA-08A7-43AA-B2AE-20C86FC95FEA}">
      <dgm:prSet/>
      <dgm:spPr/>
      <dgm:t>
        <a:bodyPr/>
        <a:lstStyle/>
        <a:p>
          <a:endParaRPr lang="de-DE"/>
        </a:p>
      </dgm:t>
    </dgm:pt>
    <dgm:pt modelId="{9E9DD36D-720B-4A25-880D-D997FACDAD92}" type="sibTrans" cxnId="{6B4D2FCA-08A7-43AA-B2AE-20C86FC95FEA}">
      <dgm:prSet/>
      <dgm:spPr/>
      <dgm:t>
        <a:bodyPr/>
        <a:lstStyle/>
        <a:p>
          <a:endParaRPr lang="de-DE"/>
        </a:p>
      </dgm:t>
    </dgm:pt>
    <dgm:pt modelId="{B7124AA1-E36B-4848-B19C-A359D1679940}">
      <dgm:prSet phldrT="[Text]" phldr="0" custT="1"/>
      <dgm:spPr>
        <a:xfrm>
          <a:off x="293306" y="1562530"/>
          <a:ext cx="2337459" cy="3385482"/>
        </a:xfrm>
      </dgm:spPr>
      <dgm:t>
        <a:bodyPr anchor="t"/>
        <a:lstStyle/>
        <a:p>
          <a:pPr algn="l">
            <a:buNone/>
          </a:pPr>
          <a:r>
            <a:rPr lang="de-DE" sz="900" b="0" dirty="0">
              <a:latin typeface="Segoe UI"/>
              <a:ea typeface="+mn-ea"/>
              <a:cs typeface="+mn-cs"/>
            </a:rPr>
            <a:t>Aufbewahrung/Löschung</a:t>
          </a:r>
        </a:p>
      </dgm:t>
    </dgm:pt>
    <dgm:pt modelId="{AB384FAF-592A-4B25-A657-72316A205A35}" type="parTrans" cxnId="{FB927C05-5F7D-4BA1-8093-06F1039EC9CD}">
      <dgm:prSet/>
      <dgm:spPr/>
      <dgm:t>
        <a:bodyPr/>
        <a:lstStyle/>
        <a:p>
          <a:endParaRPr lang="de-DE"/>
        </a:p>
      </dgm:t>
    </dgm:pt>
    <dgm:pt modelId="{F1E9D65B-F4F7-4045-8A77-6CCEBC39F63C}" type="sibTrans" cxnId="{FB927C05-5F7D-4BA1-8093-06F1039EC9CD}">
      <dgm:prSet/>
      <dgm:spPr/>
      <dgm:t>
        <a:bodyPr/>
        <a:lstStyle/>
        <a:p>
          <a:endParaRPr lang="de-DE"/>
        </a:p>
      </dgm:t>
    </dgm:pt>
    <dgm:pt modelId="{0C1D7C88-865F-46E0-B5BE-5F9AB0006AED}">
      <dgm:prSet phldrT="[Text]" phldr="0" custT="1"/>
      <dgm:spPr>
        <a:xfrm>
          <a:off x="293306" y="1562530"/>
          <a:ext cx="2337459" cy="3385482"/>
        </a:xfrm>
      </dgm:spPr>
      <dgm:t>
        <a:bodyPr anchor="t"/>
        <a:lstStyle/>
        <a:p>
          <a:pPr algn="l">
            <a:buNone/>
          </a:pPr>
          <a:r>
            <a:rPr lang="de-DE" sz="900" b="0" dirty="0">
              <a:latin typeface="Segoe UI"/>
              <a:ea typeface="+mn-ea"/>
              <a:cs typeface="+mn-cs"/>
            </a:rPr>
            <a:t>Information </a:t>
          </a:r>
          <a:r>
            <a:rPr lang="de-DE" sz="900" b="0" dirty="0" err="1">
              <a:latin typeface="Segoe UI"/>
              <a:ea typeface="+mn-ea"/>
              <a:cs typeface="+mn-cs"/>
            </a:rPr>
            <a:t>Protection</a:t>
          </a:r>
          <a:endParaRPr lang="de-DE" sz="900" b="0" dirty="0">
            <a:latin typeface="Segoe UI"/>
            <a:ea typeface="+mn-ea"/>
            <a:cs typeface="+mn-cs"/>
          </a:endParaRPr>
        </a:p>
      </dgm:t>
    </dgm:pt>
    <dgm:pt modelId="{B941708B-7C4E-4EA0-8547-D23E164F5393}" type="parTrans" cxnId="{470FFC36-9675-460E-8480-A3F7CD291303}">
      <dgm:prSet/>
      <dgm:spPr/>
      <dgm:t>
        <a:bodyPr/>
        <a:lstStyle/>
        <a:p>
          <a:endParaRPr lang="de-DE"/>
        </a:p>
      </dgm:t>
    </dgm:pt>
    <dgm:pt modelId="{6E43708D-6430-41C9-AE80-73578B1EEE9F}" type="sibTrans" cxnId="{470FFC36-9675-460E-8480-A3F7CD291303}">
      <dgm:prSet/>
      <dgm:spPr/>
      <dgm:t>
        <a:bodyPr/>
        <a:lstStyle/>
        <a:p>
          <a:endParaRPr lang="de-DE"/>
        </a:p>
      </dgm:t>
    </dgm:pt>
    <dgm:pt modelId="{C04A9133-3561-4DEF-9A33-39EAAC42FAF8}">
      <dgm:prSet phldrT="[Text]" phldr="0" custT="1"/>
      <dgm:spPr>
        <a:xfrm>
          <a:off x="293306" y="1562530"/>
          <a:ext cx="2337459" cy="3385482"/>
        </a:xfrm>
      </dgm:spPr>
      <dgm:t>
        <a:bodyPr anchor="t"/>
        <a:lstStyle/>
        <a:p>
          <a:pPr algn="l">
            <a:buNone/>
          </a:pPr>
          <a:r>
            <a:rPr lang="de-DE" sz="900" b="0">
              <a:latin typeface="Segoe UI"/>
              <a:ea typeface="+mn-ea"/>
              <a:cs typeface="+mn-cs"/>
            </a:rPr>
            <a:t>Gastzugriffe</a:t>
          </a:r>
        </a:p>
      </dgm:t>
    </dgm:pt>
    <dgm:pt modelId="{F49B3D2E-D71F-49AF-B1B1-D60DF6BD6475}" type="parTrans" cxnId="{8F85D0BE-8B1D-445D-B85E-C075631C2E4A}">
      <dgm:prSet/>
      <dgm:spPr/>
      <dgm:t>
        <a:bodyPr/>
        <a:lstStyle/>
        <a:p>
          <a:endParaRPr lang="de-DE"/>
        </a:p>
      </dgm:t>
    </dgm:pt>
    <dgm:pt modelId="{C5A46386-17D9-4ADA-8E44-1404CB5FE5C7}" type="sibTrans" cxnId="{8F85D0BE-8B1D-445D-B85E-C075631C2E4A}">
      <dgm:prSet/>
      <dgm:spPr/>
      <dgm:t>
        <a:bodyPr/>
        <a:lstStyle/>
        <a:p>
          <a:endParaRPr lang="de-DE"/>
        </a:p>
      </dgm:t>
    </dgm:pt>
    <dgm:pt modelId="{497A0AC9-7DEA-41DD-8688-C9AA39F3C81B}">
      <dgm:prSet phldrT="[Text]" phldr="0" custT="1"/>
      <dgm:spPr>
        <a:xfrm>
          <a:off x="3434266" y="1562530"/>
          <a:ext cx="2337459" cy="3385482"/>
        </a:xfrm>
      </dgm:spPr>
      <dgm:t>
        <a:bodyPr anchor="t"/>
        <a:lstStyle/>
        <a:p>
          <a:pPr algn="l">
            <a:buNone/>
          </a:pPr>
          <a:r>
            <a:rPr lang="de-DE" sz="900" b="0">
              <a:latin typeface="Segoe UI"/>
              <a:ea typeface="+mn-ea"/>
              <a:cs typeface="+mn-cs"/>
            </a:rPr>
            <a:t>Gruppenbasierte AAD- Funktionen</a:t>
          </a:r>
        </a:p>
      </dgm:t>
    </dgm:pt>
    <dgm:pt modelId="{9F2CBB1A-6C3A-464A-91EC-902939C666B7}" type="parTrans" cxnId="{0193E8AE-4A2D-4C9A-84F5-861677ABC058}">
      <dgm:prSet/>
      <dgm:spPr/>
      <dgm:t>
        <a:bodyPr/>
        <a:lstStyle/>
        <a:p>
          <a:endParaRPr lang="de-DE"/>
        </a:p>
      </dgm:t>
    </dgm:pt>
    <dgm:pt modelId="{299E7AB0-61ED-4CB5-8B5B-BC3B7799F24E}" type="sibTrans" cxnId="{0193E8AE-4A2D-4C9A-84F5-861677ABC058}">
      <dgm:prSet/>
      <dgm:spPr/>
      <dgm:t>
        <a:bodyPr/>
        <a:lstStyle/>
        <a:p>
          <a:endParaRPr lang="de-DE"/>
        </a:p>
      </dgm:t>
    </dgm:pt>
    <dgm:pt modelId="{ABE72245-FCAB-4110-96A3-D0D663C7DF59}">
      <dgm:prSet phldrT="[Text]" phldr="0" custT="1"/>
      <dgm:spPr>
        <a:xfrm>
          <a:off x="3434266" y="1562530"/>
          <a:ext cx="2337459" cy="3385482"/>
        </a:xfrm>
      </dgm:spPr>
      <dgm:t>
        <a:bodyPr anchor="t"/>
        <a:lstStyle/>
        <a:p>
          <a:pPr algn="l">
            <a:buNone/>
          </a:pPr>
          <a:r>
            <a:rPr lang="de-DE" sz="900" b="0">
              <a:latin typeface="Segoe UI"/>
              <a:ea typeface="+mn-ea"/>
              <a:cs typeface="+mn-cs"/>
            </a:rPr>
            <a:t>Lizenzzuweisung</a:t>
          </a:r>
        </a:p>
      </dgm:t>
    </dgm:pt>
    <dgm:pt modelId="{38C16CF9-4C6F-422F-BB62-7BA527A21F48}" type="parTrans" cxnId="{85EA8CBC-7D4D-4460-AD69-637807C4C801}">
      <dgm:prSet/>
      <dgm:spPr/>
      <dgm:t>
        <a:bodyPr/>
        <a:lstStyle/>
        <a:p>
          <a:endParaRPr lang="de-DE"/>
        </a:p>
      </dgm:t>
    </dgm:pt>
    <dgm:pt modelId="{BD003D6E-CB7E-43EC-931D-7C03587B99CA}" type="sibTrans" cxnId="{85EA8CBC-7D4D-4460-AD69-637807C4C801}">
      <dgm:prSet/>
      <dgm:spPr/>
      <dgm:t>
        <a:bodyPr/>
        <a:lstStyle/>
        <a:p>
          <a:endParaRPr lang="de-DE"/>
        </a:p>
      </dgm:t>
    </dgm:pt>
    <dgm:pt modelId="{A1D5315C-4853-4E37-9758-2278326E4660}">
      <dgm:prSet phldrT="[Text]" phldr="0" custT="1"/>
      <dgm:spPr>
        <a:xfrm>
          <a:off x="3434266" y="1562530"/>
          <a:ext cx="2337459" cy="3385482"/>
        </a:xfrm>
      </dgm:spPr>
      <dgm:t>
        <a:bodyPr anchor="t"/>
        <a:lstStyle/>
        <a:p>
          <a:pPr algn="l">
            <a:buNone/>
          </a:pPr>
          <a:r>
            <a:rPr lang="de-DE" sz="900" b="0">
              <a:latin typeface="Segoe UI"/>
              <a:ea typeface="+mn-ea"/>
              <a:cs typeface="+mn-cs"/>
            </a:rPr>
            <a:t>AAD/Intune Richtlinien-zuweisung</a:t>
          </a:r>
        </a:p>
      </dgm:t>
    </dgm:pt>
    <dgm:pt modelId="{9A26B025-1703-464F-BFEE-D92E50B83BF2}" type="parTrans" cxnId="{14B222D8-4743-4AB2-A400-D98F72749E3D}">
      <dgm:prSet/>
      <dgm:spPr/>
      <dgm:t>
        <a:bodyPr/>
        <a:lstStyle/>
        <a:p>
          <a:endParaRPr lang="de-DE"/>
        </a:p>
      </dgm:t>
    </dgm:pt>
    <dgm:pt modelId="{2A591D53-475B-4285-AEA8-072A7E2F45FE}" type="sibTrans" cxnId="{14B222D8-4743-4AB2-A400-D98F72749E3D}">
      <dgm:prSet/>
      <dgm:spPr/>
      <dgm:t>
        <a:bodyPr/>
        <a:lstStyle/>
        <a:p>
          <a:endParaRPr lang="de-DE"/>
        </a:p>
      </dgm:t>
    </dgm:pt>
    <dgm:pt modelId="{E7B6E247-3AA4-406D-BEA0-3B7014C5892F}">
      <dgm:prSet phldrT="[Text]" phldr="0" custT="1"/>
      <dgm:spPr>
        <a:xfrm>
          <a:off x="6283045" y="0"/>
          <a:ext cx="2921823" cy="5208435"/>
        </a:xfrm>
      </dgm:spPr>
      <dgm:t>
        <a:bodyPr anchor="t"/>
        <a:lstStyle/>
        <a:p>
          <a:pPr algn="l">
            <a:buNone/>
          </a:pPr>
          <a:r>
            <a:rPr lang="de-DE" sz="900" b="0">
              <a:latin typeface="Segoe UI"/>
              <a:ea typeface="+mn-ea"/>
              <a:cs typeface="+mn-cs"/>
            </a:rPr>
            <a:t>Vereinfachung einer gruppenbasierten Kontrolle, wenn der Personenkreis für die Zugriffskontrolle und dem Empfang von E-Mail-Nachrichten identisch ist</a:t>
          </a:r>
        </a:p>
      </dgm:t>
    </dgm:pt>
    <dgm:pt modelId="{AAF82705-6A2E-461E-9D46-A227C25DCE8E}" type="parTrans" cxnId="{D55F429A-EE63-4C41-9BE8-ACB699AF8D57}">
      <dgm:prSet/>
      <dgm:spPr/>
      <dgm:t>
        <a:bodyPr/>
        <a:lstStyle/>
        <a:p>
          <a:endParaRPr lang="de-DE"/>
        </a:p>
      </dgm:t>
    </dgm:pt>
    <dgm:pt modelId="{02E4CF34-9C4C-44CE-ABE6-51CE6EFB495C}" type="sibTrans" cxnId="{D55F429A-EE63-4C41-9BE8-ACB699AF8D57}">
      <dgm:prSet/>
      <dgm:spPr/>
      <dgm:t>
        <a:bodyPr/>
        <a:lstStyle/>
        <a:p>
          <a:endParaRPr lang="de-DE"/>
        </a:p>
      </dgm:t>
    </dgm:pt>
    <dgm:pt modelId="{39E7A439-D2D2-4592-862F-F644AAA130F8}">
      <dgm:prSet phldrT="[Text]" phldr="0" custT="1"/>
      <dgm:spPr>
        <a:xfrm>
          <a:off x="293306" y="1562530"/>
          <a:ext cx="2337459" cy="3385482"/>
        </a:xfrm>
      </dgm:spPr>
      <dgm:t>
        <a:bodyPr anchor="t"/>
        <a:lstStyle/>
        <a:p>
          <a:pPr algn="l">
            <a:buNone/>
          </a:pPr>
          <a:r>
            <a:rPr lang="de-DE" sz="900" b="0" dirty="0">
              <a:latin typeface="Segoe UI"/>
              <a:ea typeface="+mn-ea"/>
              <a:cs typeface="+mn-cs"/>
            </a:rPr>
            <a:t>Unterstützt </a:t>
          </a:r>
          <a:br>
            <a:rPr lang="de-DE" sz="900" b="0" dirty="0">
              <a:latin typeface="Segoe UI"/>
              <a:ea typeface="+mn-ea"/>
              <a:cs typeface="+mn-cs"/>
            </a:rPr>
          </a:br>
          <a:r>
            <a:rPr lang="de-DE" sz="900" b="0" dirty="0">
              <a:latin typeface="Segoe UI"/>
              <a:ea typeface="+mn-ea"/>
              <a:cs typeface="+mn-cs"/>
            </a:rPr>
            <a:t>Senden-Als/Senden im Auftrag von</a:t>
          </a:r>
        </a:p>
      </dgm:t>
    </dgm:pt>
    <dgm:pt modelId="{7676C984-CB39-41A8-B5C8-48E0D743FD91}" type="parTrans" cxnId="{1EEAC24B-0310-4075-97CF-1E482AF65C8F}">
      <dgm:prSet/>
      <dgm:spPr/>
      <dgm:t>
        <a:bodyPr/>
        <a:lstStyle/>
        <a:p>
          <a:endParaRPr lang="de-DE"/>
        </a:p>
      </dgm:t>
    </dgm:pt>
    <dgm:pt modelId="{7987B8DA-5E7C-41DD-A0FC-97ABC7910022}" type="sibTrans" cxnId="{1EEAC24B-0310-4075-97CF-1E482AF65C8F}">
      <dgm:prSet/>
      <dgm:spPr/>
      <dgm:t>
        <a:bodyPr/>
        <a:lstStyle/>
        <a:p>
          <a:endParaRPr lang="de-DE"/>
        </a:p>
      </dgm:t>
    </dgm:pt>
    <dgm:pt modelId="{32933FAA-F08D-40BA-A03C-AF33AEC150FB}">
      <dgm:prSet phldrT="[Text]" phldr="0" custT="1"/>
      <dgm:spPr>
        <a:xfrm>
          <a:off x="6283045" y="0"/>
          <a:ext cx="2921823" cy="5208435"/>
        </a:xfrm>
      </dgm:spPr>
      <dgm:t>
        <a:bodyPr anchor="t"/>
        <a:lstStyle/>
        <a:p>
          <a:pPr algn="l">
            <a:buNone/>
          </a:pPr>
          <a:r>
            <a:rPr lang="de-DE" sz="900" b="0" dirty="0">
              <a:latin typeface="Segoe UI"/>
              <a:ea typeface="+mn-ea"/>
              <a:cs typeface="+mn-cs"/>
            </a:rPr>
            <a:t>Unterstützt </a:t>
          </a:r>
          <a:br>
            <a:rPr lang="de-DE" sz="900" b="0" dirty="0">
              <a:latin typeface="Segoe UI"/>
              <a:ea typeface="+mn-ea"/>
              <a:cs typeface="+mn-cs"/>
            </a:rPr>
          </a:br>
          <a:r>
            <a:rPr lang="de-DE" sz="900" b="0" dirty="0">
              <a:latin typeface="Segoe UI"/>
              <a:ea typeface="+mn-ea"/>
              <a:cs typeface="+mn-cs"/>
            </a:rPr>
            <a:t>Senden-Als/Senden im Auftrag von</a:t>
          </a:r>
        </a:p>
      </dgm:t>
    </dgm:pt>
    <dgm:pt modelId="{8056687D-FA25-44FF-80C4-9D4C3023F083}" type="parTrans" cxnId="{8D3E8DD9-305A-4E08-943E-AB8D3D479777}">
      <dgm:prSet/>
      <dgm:spPr/>
      <dgm:t>
        <a:bodyPr/>
        <a:lstStyle/>
        <a:p>
          <a:endParaRPr lang="de-DE"/>
        </a:p>
      </dgm:t>
    </dgm:pt>
    <dgm:pt modelId="{0C76D58D-82F4-4AED-930E-61E5321D00A1}" type="sibTrans" cxnId="{8D3E8DD9-305A-4E08-943E-AB8D3D479777}">
      <dgm:prSet/>
      <dgm:spPr/>
      <dgm:t>
        <a:bodyPr/>
        <a:lstStyle/>
        <a:p>
          <a:endParaRPr lang="de-DE"/>
        </a:p>
      </dgm:t>
    </dgm:pt>
    <dgm:pt modelId="{90779B85-7897-44C0-A4AE-CD2AF8C1E2C8}">
      <dgm:prSet phldrT="[Text]" phldr="0" custT="1"/>
      <dgm:spPr>
        <a:xfrm>
          <a:off x="6575227" y="1562530"/>
          <a:ext cx="2337459" cy="3385482"/>
        </a:xfrm>
      </dgm:spPr>
      <dgm:t>
        <a:bodyPr anchor="t"/>
        <a:lstStyle/>
        <a:p>
          <a:pPr algn="l">
            <a:buNone/>
          </a:pPr>
          <a:r>
            <a:rPr lang="de-DE" sz="900" b="0">
              <a:latin typeface="Segoe UI"/>
              <a:ea typeface="+mn-ea"/>
              <a:cs typeface="+mn-cs"/>
            </a:rPr>
            <a:t>Es ist keine Gruppe im eigentliche Sinn</a:t>
          </a:r>
        </a:p>
      </dgm:t>
    </dgm:pt>
    <dgm:pt modelId="{7456DB82-FEB5-49D9-9215-68ECE67AB419}" type="parTrans" cxnId="{4753F53E-B6F7-4EC9-80EF-0C59B6EF437E}">
      <dgm:prSet/>
      <dgm:spPr/>
      <dgm:t>
        <a:bodyPr/>
        <a:lstStyle/>
        <a:p>
          <a:endParaRPr lang="de-DE"/>
        </a:p>
      </dgm:t>
    </dgm:pt>
    <dgm:pt modelId="{E6ABF4F5-586B-41E1-8D5D-C7CFFA32960E}" type="sibTrans" cxnId="{4753F53E-B6F7-4EC9-80EF-0C59B6EF437E}">
      <dgm:prSet/>
      <dgm:spPr/>
      <dgm:t>
        <a:bodyPr/>
        <a:lstStyle/>
        <a:p>
          <a:endParaRPr lang="de-DE"/>
        </a:p>
      </dgm:t>
    </dgm:pt>
    <dgm:pt modelId="{96A7FA77-1583-45F3-A09A-6744BB465F84}">
      <dgm:prSet phldrT="[Text]" phldr="0" custT="1"/>
      <dgm:spPr>
        <a:xfrm>
          <a:off x="293306" y="1562530"/>
          <a:ext cx="2337459" cy="3385482"/>
        </a:xfrm>
      </dgm:spPr>
      <dgm:t>
        <a:bodyPr anchor="t"/>
        <a:lstStyle/>
        <a:p>
          <a:pPr algn="l">
            <a:buNone/>
          </a:pPr>
          <a:r>
            <a:rPr lang="de-DE" sz="900" b="0">
              <a:latin typeface="Segoe UI"/>
              <a:ea typeface="+mn-ea"/>
              <a:cs typeface="+mn-cs"/>
            </a:rPr>
            <a:t>Unterstützt </a:t>
          </a:r>
          <a:br>
            <a:rPr lang="de-DE" sz="900" b="0">
              <a:latin typeface="Segoe UI"/>
              <a:ea typeface="+mn-ea"/>
              <a:cs typeface="+mn-cs"/>
            </a:rPr>
          </a:br>
          <a:r>
            <a:rPr lang="de-DE" sz="900" b="0">
              <a:latin typeface="Segoe UI"/>
              <a:ea typeface="+mn-ea"/>
              <a:cs typeface="+mn-cs"/>
            </a:rPr>
            <a:t>Senden-Als/Senden im Auftrag von</a:t>
          </a:r>
        </a:p>
      </dgm:t>
    </dgm:pt>
    <dgm:pt modelId="{DFBCF526-88B5-425C-9DE8-113ADA1BD829}" type="parTrans" cxnId="{827D422B-2DF8-4D92-8CDA-2B9A6CC2202E}">
      <dgm:prSet/>
      <dgm:spPr/>
      <dgm:t>
        <a:bodyPr/>
        <a:lstStyle/>
        <a:p>
          <a:endParaRPr lang="de-DE"/>
        </a:p>
      </dgm:t>
    </dgm:pt>
    <dgm:pt modelId="{857D787A-454B-448D-A3E9-A457CD358EBD}" type="sibTrans" cxnId="{827D422B-2DF8-4D92-8CDA-2B9A6CC2202E}">
      <dgm:prSet/>
      <dgm:spPr/>
      <dgm:t>
        <a:bodyPr/>
        <a:lstStyle/>
        <a:p>
          <a:endParaRPr lang="de-DE"/>
        </a:p>
      </dgm:t>
    </dgm:pt>
    <dgm:pt modelId="{A45BA945-EBBB-4F89-B538-DBD2F1ECF270}">
      <dgm:prSet phldrT="[Text]" phldr="0" custT="1"/>
      <dgm:spPr>
        <a:xfrm>
          <a:off x="293306" y="1562530"/>
          <a:ext cx="2337459" cy="3385482"/>
        </a:xfrm>
      </dgm:spPr>
      <dgm:t>
        <a:bodyPr anchor="t"/>
        <a:lstStyle/>
        <a:p>
          <a:pPr algn="l">
            <a:buNone/>
          </a:pPr>
          <a:r>
            <a:rPr lang="de-DE" sz="900" b="0">
              <a:latin typeface="Segoe UI"/>
              <a:ea typeface="+mn-ea"/>
              <a:cs typeface="+mn-cs"/>
            </a:rPr>
            <a:t>Unterstützt </a:t>
          </a:r>
          <a:br>
            <a:rPr lang="de-DE" sz="900" b="0">
              <a:latin typeface="Segoe UI"/>
              <a:ea typeface="+mn-ea"/>
              <a:cs typeface="+mn-cs"/>
            </a:rPr>
          </a:br>
          <a:r>
            <a:rPr lang="de-DE" sz="900" b="0">
              <a:latin typeface="Segoe UI"/>
              <a:ea typeface="+mn-ea"/>
              <a:cs typeface="+mn-cs"/>
            </a:rPr>
            <a:t>Senden-Als/Senden im Auftrag von</a:t>
          </a:r>
        </a:p>
      </dgm:t>
    </dgm:pt>
    <dgm:pt modelId="{FD85CD68-A953-41AD-A9DC-BFC201209855}" type="parTrans" cxnId="{33717244-7D99-4A68-9700-0886C69F132F}">
      <dgm:prSet/>
      <dgm:spPr/>
      <dgm:t>
        <a:bodyPr/>
        <a:lstStyle/>
        <a:p>
          <a:endParaRPr lang="de-DE"/>
        </a:p>
      </dgm:t>
    </dgm:pt>
    <dgm:pt modelId="{510AA4B8-BC87-43F2-A805-D22F617119FB}" type="sibTrans" cxnId="{33717244-7D99-4A68-9700-0886C69F132F}">
      <dgm:prSet/>
      <dgm:spPr/>
      <dgm:t>
        <a:bodyPr/>
        <a:lstStyle/>
        <a:p>
          <a:endParaRPr lang="de-DE"/>
        </a:p>
      </dgm:t>
    </dgm:pt>
    <dgm:pt modelId="{5572EC6B-D574-4917-86A6-31B30C50F3A1}">
      <dgm:prSet phldrT="[Text]" phldr="0" custT="1"/>
      <dgm:spPr>
        <a:xfrm>
          <a:off x="3434266" y="1562530"/>
          <a:ext cx="2337459" cy="3385482"/>
        </a:xfrm>
      </dgm:spPr>
      <dgm:t>
        <a:bodyPr anchor="t"/>
        <a:lstStyle/>
        <a:p>
          <a:pPr algn="l">
            <a:buNone/>
          </a:pPr>
          <a:r>
            <a:rPr lang="de-DE" sz="900" b="0">
              <a:latin typeface="Segoe UI"/>
              <a:ea typeface="+mn-ea"/>
              <a:cs typeface="+mn-cs"/>
            </a:rPr>
            <a:t>Conditional Access</a:t>
          </a:r>
        </a:p>
      </dgm:t>
    </dgm:pt>
    <dgm:pt modelId="{E2AF38CE-85F6-4254-92DE-C96858FD4601}" type="parTrans" cxnId="{DD7355BA-677D-411E-92E8-11CBE2DB50CF}">
      <dgm:prSet/>
      <dgm:spPr/>
      <dgm:t>
        <a:bodyPr/>
        <a:lstStyle/>
        <a:p>
          <a:endParaRPr lang="de-DE"/>
        </a:p>
      </dgm:t>
    </dgm:pt>
    <dgm:pt modelId="{3C498F5F-9940-4325-A24D-192FCF12EE92}" type="sibTrans" cxnId="{DD7355BA-677D-411E-92E8-11CBE2DB50CF}">
      <dgm:prSet/>
      <dgm:spPr/>
      <dgm:t>
        <a:bodyPr/>
        <a:lstStyle/>
        <a:p>
          <a:endParaRPr lang="de-DE"/>
        </a:p>
      </dgm:t>
    </dgm:pt>
    <dgm:pt modelId="{6DBB6E41-9F95-4EE6-8373-A3A55DB2B25F}">
      <dgm:prSet phldrT="[Text]" phldr="0" custT="1"/>
      <dgm:spPr>
        <a:xfrm>
          <a:off x="6575227" y="1562530"/>
          <a:ext cx="2337459" cy="3385482"/>
        </a:xfrm>
      </dgm:spPr>
      <dgm:t>
        <a:bodyPr anchor="t"/>
        <a:lstStyle/>
        <a:p>
          <a:pPr algn="l">
            <a:buNone/>
          </a:pPr>
          <a:endParaRPr lang="de-DE" sz="900" b="0">
            <a:latin typeface="Segoe UI"/>
            <a:ea typeface="+mn-ea"/>
            <a:cs typeface="+mn-cs"/>
          </a:endParaRPr>
        </a:p>
      </dgm:t>
    </dgm:pt>
    <dgm:pt modelId="{78032237-1B4B-414E-B544-581E7EA3975F}" type="parTrans" cxnId="{2C834087-74A3-4089-A88D-5018265C8614}">
      <dgm:prSet/>
      <dgm:spPr/>
      <dgm:t>
        <a:bodyPr/>
        <a:lstStyle/>
        <a:p>
          <a:endParaRPr lang="de-DE"/>
        </a:p>
      </dgm:t>
    </dgm:pt>
    <dgm:pt modelId="{74938347-D688-4F8D-958D-F8A10F4E94BE}" type="sibTrans" cxnId="{2C834087-74A3-4089-A88D-5018265C8614}">
      <dgm:prSet/>
      <dgm:spPr/>
      <dgm:t>
        <a:bodyPr/>
        <a:lstStyle/>
        <a:p>
          <a:endParaRPr lang="de-DE"/>
        </a:p>
      </dgm:t>
    </dgm:pt>
    <dgm:pt modelId="{DED6AE37-7B07-0248-8DC1-8A023D941DB5}" type="pres">
      <dgm:prSet presAssocID="{D3802228-14AA-7042-B203-6F18BD5F4775}" presName="theList" presStyleCnt="0">
        <dgm:presLayoutVars>
          <dgm:dir/>
          <dgm:animLvl val="lvl"/>
          <dgm:resizeHandles val="exact"/>
        </dgm:presLayoutVars>
      </dgm:prSet>
      <dgm:spPr/>
    </dgm:pt>
    <dgm:pt modelId="{F5E98FD3-EE84-E54B-85AC-A0741BF6B43B}" type="pres">
      <dgm:prSet presAssocID="{42859F9E-279B-324A-B7E8-61D756839FCC}" presName="compNode" presStyleCnt="0"/>
      <dgm:spPr/>
    </dgm:pt>
    <dgm:pt modelId="{117C0457-4105-7E41-8990-657F71B8C270}" type="pres">
      <dgm:prSet presAssocID="{42859F9E-279B-324A-B7E8-61D756839FCC}" presName="aNode" presStyleLbl="bgShp" presStyleIdx="0" presStyleCnt="5"/>
      <dgm:spPr/>
    </dgm:pt>
    <dgm:pt modelId="{FC98FD0B-FAEB-3B40-AF71-AD17B8912192}" type="pres">
      <dgm:prSet presAssocID="{42859F9E-279B-324A-B7E8-61D756839FCC}" presName="textNode" presStyleLbl="bgShp" presStyleIdx="0" presStyleCnt="5"/>
      <dgm:spPr/>
    </dgm:pt>
    <dgm:pt modelId="{FFA409BF-516D-124D-AEDD-56F148093C8E}" type="pres">
      <dgm:prSet presAssocID="{42859F9E-279B-324A-B7E8-61D756839FCC}" presName="compChildNode" presStyleCnt="0"/>
      <dgm:spPr/>
    </dgm:pt>
    <dgm:pt modelId="{4D86203D-28DE-F34B-81BD-610D49BE6EA7}" type="pres">
      <dgm:prSet presAssocID="{42859F9E-279B-324A-B7E8-61D756839FCC}" presName="theInnerList" presStyleCnt="0"/>
      <dgm:spPr/>
    </dgm:pt>
    <dgm:pt modelId="{4046C4FC-0B95-C640-B6D4-0A647C4122F4}" type="pres">
      <dgm:prSet presAssocID="{92513CC2-A95C-4442-AAB4-C8D5FD7A1475}" presName="childNode" presStyleLbl="node1" presStyleIdx="0" presStyleCnt="12">
        <dgm:presLayoutVars>
          <dgm:bulletEnabled val="1"/>
        </dgm:presLayoutVars>
      </dgm:prSet>
      <dgm:spPr/>
    </dgm:pt>
    <dgm:pt modelId="{BD314941-FBD9-42EE-8243-CDFED332E057}" type="pres">
      <dgm:prSet presAssocID="{92513CC2-A95C-4442-AAB4-C8D5FD7A1475}" presName="aSpace2" presStyleCnt="0"/>
      <dgm:spPr/>
    </dgm:pt>
    <dgm:pt modelId="{5F85A6D5-AC56-47B9-AE74-C92AA41B1F5F}" type="pres">
      <dgm:prSet presAssocID="{DA2064FF-DFE9-41D4-8187-E8CCD9B45DF7}" presName="childNode" presStyleLbl="node1" presStyleIdx="1" presStyleCnt="12">
        <dgm:presLayoutVars>
          <dgm:bulletEnabled val="1"/>
        </dgm:presLayoutVars>
      </dgm:prSet>
      <dgm:spPr/>
    </dgm:pt>
    <dgm:pt modelId="{7DADFD58-E107-4375-BD4F-5CC0A160BDDD}" type="pres">
      <dgm:prSet presAssocID="{DA2064FF-DFE9-41D4-8187-E8CCD9B45DF7}" presName="aSpace2" presStyleCnt="0"/>
      <dgm:spPr/>
    </dgm:pt>
    <dgm:pt modelId="{458EDD88-C16A-47C6-8308-6026BD49CB49}" type="pres">
      <dgm:prSet presAssocID="{39E7A439-D2D2-4592-862F-F644AAA130F8}" presName="childNode" presStyleLbl="node1" presStyleIdx="2" presStyleCnt="12" custScaleY="61905">
        <dgm:presLayoutVars>
          <dgm:bulletEnabled val="1"/>
        </dgm:presLayoutVars>
      </dgm:prSet>
      <dgm:spPr/>
    </dgm:pt>
    <dgm:pt modelId="{E6E898BC-67E2-934E-835B-AE26572F9F79}" type="pres">
      <dgm:prSet presAssocID="{42859F9E-279B-324A-B7E8-61D756839FCC}" presName="aSpace" presStyleCnt="0"/>
      <dgm:spPr/>
    </dgm:pt>
    <dgm:pt modelId="{774C717A-F6FD-F54C-9CC1-FE3F8927D283}" type="pres">
      <dgm:prSet presAssocID="{09BD38BC-CF17-FC41-A565-CDC57E3F94A9}" presName="compNode" presStyleCnt="0"/>
      <dgm:spPr/>
    </dgm:pt>
    <dgm:pt modelId="{588AF5E3-45D9-7746-B5C7-913B0EA68683}" type="pres">
      <dgm:prSet presAssocID="{09BD38BC-CF17-FC41-A565-CDC57E3F94A9}" presName="aNode" presStyleLbl="bgShp" presStyleIdx="1" presStyleCnt="5"/>
      <dgm:spPr/>
    </dgm:pt>
    <dgm:pt modelId="{8D31DCC8-6358-164B-956F-3F1DDB22B3A8}" type="pres">
      <dgm:prSet presAssocID="{09BD38BC-CF17-FC41-A565-CDC57E3F94A9}" presName="textNode" presStyleLbl="bgShp" presStyleIdx="1" presStyleCnt="5"/>
      <dgm:spPr/>
    </dgm:pt>
    <dgm:pt modelId="{FF5BE1DD-C235-1042-B509-2D7E4BBECD1C}" type="pres">
      <dgm:prSet presAssocID="{09BD38BC-CF17-FC41-A565-CDC57E3F94A9}" presName="compChildNode" presStyleCnt="0"/>
      <dgm:spPr/>
    </dgm:pt>
    <dgm:pt modelId="{85C5A067-8450-D740-B9E6-D0C0514BFE35}" type="pres">
      <dgm:prSet presAssocID="{09BD38BC-CF17-FC41-A565-CDC57E3F94A9}" presName="theInnerList" presStyleCnt="0"/>
      <dgm:spPr/>
    </dgm:pt>
    <dgm:pt modelId="{5A701B83-6950-2146-9658-FC4BC261929C}" type="pres">
      <dgm:prSet presAssocID="{28C9EE4C-CAC4-3D47-BEAA-2115FF8E693F}" presName="childNode" presStyleLbl="node1" presStyleIdx="3" presStyleCnt="12" custScaleY="27374">
        <dgm:presLayoutVars>
          <dgm:bulletEnabled val="1"/>
        </dgm:presLayoutVars>
      </dgm:prSet>
      <dgm:spPr/>
    </dgm:pt>
    <dgm:pt modelId="{ED5DE938-CF6B-4CB4-8A39-98075D26C387}" type="pres">
      <dgm:prSet presAssocID="{28C9EE4C-CAC4-3D47-BEAA-2115FF8E693F}" presName="aSpace2" presStyleCnt="0"/>
      <dgm:spPr/>
    </dgm:pt>
    <dgm:pt modelId="{17D2D860-5E02-4BE3-B8AC-6FF36333CD8A}" type="pres">
      <dgm:prSet presAssocID="{497A0AC9-7DEA-41DD-8688-C9AA39F3C81B}" presName="childNode" presStyleLbl="node1" presStyleIdx="4" presStyleCnt="12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</dgm:pt>
    <dgm:pt modelId="{34EED680-02BD-8643-AC10-5CE2486DB586}" type="pres">
      <dgm:prSet presAssocID="{09BD38BC-CF17-FC41-A565-CDC57E3F94A9}" presName="aSpace" presStyleCnt="0"/>
      <dgm:spPr/>
    </dgm:pt>
    <dgm:pt modelId="{7AE295BE-2B4B-4B21-8C12-3FBC84497F3A}" type="pres">
      <dgm:prSet presAssocID="{7B3502C2-EADC-436A-998B-0DE91ECE44D8}" presName="compNode" presStyleCnt="0"/>
      <dgm:spPr/>
    </dgm:pt>
    <dgm:pt modelId="{C205FEF3-C259-4E89-BF06-F316177B200B}" type="pres">
      <dgm:prSet presAssocID="{7B3502C2-EADC-436A-998B-0DE91ECE44D8}" presName="aNode" presStyleLbl="bgShp" presStyleIdx="2" presStyleCnt="5"/>
      <dgm:spPr>
        <a:prstGeom prst="roundRect">
          <a:avLst>
            <a:gd name="adj" fmla="val 10000"/>
          </a:avLst>
        </a:prstGeom>
      </dgm:spPr>
    </dgm:pt>
    <dgm:pt modelId="{EF5F4025-B90E-42D4-9FA3-9D34F17CE8FF}" type="pres">
      <dgm:prSet presAssocID="{7B3502C2-EADC-436A-998B-0DE91ECE44D8}" presName="textNode" presStyleLbl="bgShp" presStyleIdx="2" presStyleCnt="5"/>
      <dgm:spPr/>
    </dgm:pt>
    <dgm:pt modelId="{29F718F8-90D0-4D4D-8FFE-2233721A6C78}" type="pres">
      <dgm:prSet presAssocID="{7B3502C2-EADC-436A-998B-0DE91ECE44D8}" presName="compChildNode" presStyleCnt="0"/>
      <dgm:spPr/>
    </dgm:pt>
    <dgm:pt modelId="{AB59DDB8-C365-4075-A6AF-A05C786391B7}" type="pres">
      <dgm:prSet presAssocID="{7B3502C2-EADC-436A-998B-0DE91ECE44D8}" presName="theInnerList" presStyleCnt="0"/>
      <dgm:spPr/>
    </dgm:pt>
    <dgm:pt modelId="{20EDDE44-A06E-4931-A819-03E73611E52B}" type="pres">
      <dgm:prSet presAssocID="{604CBBDA-5A33-4462-A10A-D1CBB4A57891}" presName="childNode" presStyleLbl="node1" presStyleIdx="5" presStyleCnt="12">
        <dgm:presLayoutVars>
          <dgm:bulletEnabled val="1"/>
        </dgm:presLayoutVars>
      </dgm:prSet>
      <dgm:spPr/>
    </dgm:pt>
    <dgm:pt modelId="{A0C31A77-ACDF-4DDB-9849-BD58E2E707C4}" type="pres">
      <dgm:prSet presAssocID="{604CBBDA-5A33-4462-A10A-D1CBB4A57891}" presName="aSpace2" presStyleCnt="0"/>
      <dgm:spPr/>
    </dgm:pt>
    <dgm:pt modelId="{76954BBF-B09E-458E-A42A-20FE2A992636}" type="pres">
      <dgm:prSet presAssocID="{32933FAA-F08D-40BA-A03C-AF33AEC150FB}" presName="childNode" presStyleLbl="node1" presStyleIdx="6" presStyleCnt="12" custScaleY="27157" custLinFactNeighborY="-6744">
        <dgm:presLayoutVars>
          <dgm:bulletEnabled val="1"/>
        </dgm:presLayoutVars>
      </dgm:prSet>
      <dgm:spPr/>
    </dgm:pt>
    <dgm:pt modelId="{FB275E15-3601-487F-8380-68B362B4E373}" type="pres">
      <dgm:prSet presAssocID="{7B3502C2-EADC-436A-998B-0DE91ECE44D8}" presName="aSpace" presStyleCnt="0"/>
      <dgm:spPr/>
    </dgm:pt>
    <dgm:pt modelId="{22EA4981-D514-A942-95F9-F7AFC4C206A7}" type="pres">
      <dgm:prSet presAssocID="{8D49DACF-926F-7B4E-92BB-AF2D0E553D16}" presName="compNode" presStyleCnt="0"/>
      <dgm:spPr/>
    </dgm:pt>
    <dgm:pt modelId="{7F7C0B6D-67FB-6E4F-BD32-0B13CA04E13D}" type="pres">
      <dgm:prSet presAssocID="{8D49DACF-926F-7B4E-92BB-AF2D0E553D16}" presName="aNode" presStyleLbl="bgShp" presStyleIdx="3" presStyleCnt="5"/>
      <dgm:spPr/>
    </dgm:pt>
    <dgm:pt modelId="{90B60915-D34A-4E40-B433-FB7551C53E25}" type="pres">
      <dgm:prSet presAssocID="{8D49DACF-926F-7B4E-92BB-AF2D0E553D16}" presName="textNode" presStyleLbl="bgShp" presStyleIdx="3" presStyleCnt="5"/>
      <dgm:spPr/>
    </dgm:pt>
    <dgm:pt modelId="{40163FCC-50B6-A145-92F9-A2C35515816E}" type="pres">
      <dgm:prSet presAssocID="{8D49DACF-926F-7B4E-92BB-AF2D0E553D16}" presName="compChildNode" presStyleCnt="0"/>
      <dgm:spPr/>
    </dgm:pt>
    <dgm:pt modelId="{6823C245-6E38-4044-BEA7-387F79230221}" type="pres">
      <dgm:prSet presAssocID="{8D49DACF-926F-7B4E-92BB-AF2D0E553D16}" presName="theInnerList" presStyleCnt="0"/>
      <dgm:spPr/>
    </dgm:pt>
    <dgm:pt modelId="{BFF3DA0C-DFE2-AF40-9856-A5CFDBB976C7}" type="pres">
      <dgm:prSet presAssocID="{E3A04FC2-9689-774D-A24B-3B37DCE6F821}" presName="childNode" presStyleLbl="node1" presStyleIdx="7" presStyleCnt="12">
        <dgm:presLayoutVars>
          <dgm:bulletEnabled val="1"/>
        </dgm:presLayoutVars>
      </dgm:prSet>
      <dgm:spPr/>
    </dgm:pt>
    <dgm:pt modelId="{A0BEE808-906E-48EF-A064-7460923BAD29}" type="pres">
      <dgm:prSet presAssocID="{E3A04FC2-9689-774D-A24B-3B37DCE6F821}" presName="aSpace2" presStyleCnt="0"/>
      <dgm:spPr/>
    </dgm:pt>
    <dgm:pt modelId="{B0E7F83C-6AD1-4AA7-9E7E-A5A75DCA7BAF}" type="pres">
      <dgm:prSet presAssocID="{A45BA945-EBBB-4F89-B538-DBD2F1ECF270}" presName="childNode" presStyleLbl="node1" presStyleIdx="8" presStyleCnt="12" custScaleY="26875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</dgm:pt>
    <dgm:pt modelId="{69BD8936-B082-4DF1-B434-F37C1CC6579A}" type="pres">
      <dgm:prSet presAssocID="{8D49DACF-926F-7B4E-92BB-AF2D0E553D16}" presName="aSpace" presStyleCnt="0"/>
      <dgm:spPr/>
    </dgm:pt>
    <dgm:pt modelId="{9C849749-B3A2-4A9B-9804-2566A1E340DB}" type="pres">
      <dgm:prSet presAssocID="{A739F81B-0B99-47BD-90C3-BCB33EF46C46}" presName="compNode" presStyleCnt="0"/>
      <dgm:spPr/>
    </dgm:pt>
    <dgm:pt modelId="{428AE84D-D978-461D-A4F4-ACDC17F06DFD}" type="pres">
      <dgm:prSet presAssocID="{A739F81B-0B99-47BD-90C3-BCB33EF46C46}" presName="aNode" presStyleLbl="bgShp" presStyleIdx="4" presStyleCnt="5"/>
      <dgm:spPr/>
    </dgm:pt>
    <dgm:pt modelId="{FEE89869-DE81-4B7A-A7E5-ADA85F7A0CB5}" type="pres">
      <dgm:prSet presAssocID="{A739F81B-0B99-47BD-90C3-BCB33EF46C46}" presName="textNode" presStyleLbl="bgShp" presStyleIdx="4" presStyleCnt="5"/>
      <dgm:spPr/>
    </dgm:pt>
    <dgm:pt modelId="{F44A1FC4-2AF2-42B9-B2A3-5321E64AB3BE}" type="pres">
      <dgm:prSet presAssocID="{A739F81B-0B99-47BD-90C3-BCB33EF46C46}" presName="compChildNode" presStyleCnt="0"/>
      <dgm:spPr/>
    </dgm:pt>
    <dgm:pt modelId="{07381F92-67CE-4E5B-A45B-B5BB35F08BA0}" type="pres">
      <dgm:prSet presAssocID="{A739F81B-0B99-47BD-90C3-BCB33EF46C46}" presName="theInnerList" presStyleCnt="0"/>
      <dgm:spPr/>
    </dgm:pt>
    <dgm:pt modelId="{C39F1A3D-298C-456F-A63D-E86B8BB1D3E1}" type="pres">
      <dgm:prSet presAssocID="{7E55C154-B29B-4358-8E12-833B5AA257A5}" presName="childNode" presStyleLbl="node1" presStyleIdx="9" presStyleCnt="12">
        <dgm:presLayoutVars>
          <dgm:bulletEnabled val="1"/>
        </dgm:presLayoutVars>
      </dgm:prSet>
      <dgm:spPr/>
    </dgm:pt>
    <dgm:pt modelId="{77E86313-D105-4848-BBE8-A109131D39BC}" type="pres">
      <dgm:prSet presAssocID="{7E55C154-B29B-4358-8E12-833B5AA257A5}" presName="aSpace2" presStyleCnt="0"/>
      <dgm:spPr/>
    </dgm:pt>
    <dgm:pt modelId="{122948D0-11A2-4EAF-BE9A-0A9B67061432}" type="pres">
      <dgm:prSet presAssocID="{90779B85-7897-44C0-A4AE-CD2AF8C1E2C8}" presName="childNode" presStyleLbl="node1" presStyleIdx="10" presStyleCnt="12">
        <dgm:presLayoutVars>
          <dgm:bulletEnabled val="1"/>
        </dgm:presLayoutVars>
      </dgm:prSet>
      <dgm:spPr/>
    </dgm:pt>
    <dgm:pt modelId="{71EE6FA9-592A-4F29-9CA8-24250D5C7589}" type="pres">
      <dgm:prSet presAssocID="{90779B85-7897-44C0-A4AE-CD2AF8C1E2C8}" presName="aSpace2" presStyleCnt="0"/>
      <dgm:spPr/>
    </dgm:pt>
    <dgm:pt modelId="{171AE3A5-1DFC-43CD-A81F-1448D93A85FD}" type="pres">
      <dgm:prSet presAssocID="{96A7FA77-1583-45F3-A09A-6744BB465F84}" presName="childNode" presStyleLbl="node1" presStyleIdx="11" presStyleCnt="12" custScaleY="58658">
        <dgm:presLayoutVars>
          <dgm:bulletEnabled val="1"/>
        </dgm:presLayoutVars>
      </dgm:prSet>
      <dgm:spPr/>
    </dgm:pt>
  </dgm:ptLst>
  <dgm:cxnLst>
    <dgm:cxn modelId="{FB927C05-5F7D-4BA1-8093-06F1039EC9CD}" srcId="{DA2064FF-DFE9-41D4-8187-E8CCD9B45DF7}" destId="{B7124AA1-E36B-4848-B19C-A359D1679940}" srcOrd="0" destOrd="0" parTransId="{AB384FAF-592A-4B25-A657-72316A205A35}" sibTransId="{F1E9D65B-F4F7-4045-8A77-6CCEBC39F63C}"/>
    <dgm:cxn modelId="{94272408-05F6-4B42-934D-3C1187123B68}" type="presOf" srcId="{A739F81B-0B99-47BD-90C3-BCB33EF46C46}" destId="{428AE84D-D978-461D-A4F4-ACDC17F06DFD}" srcOrd="0" destOrd="0" presId="urn:microsoft.com/office/officeart/2005/8/layout/lProcess2"/>
    <dgm:cxn modelId="{41DEF00A-6B02-0547-9746-13F08F4ED80E}" srcId="{D3802228-14AA-7042-B203-6F18BD5F4775}" destId="{42859F9E-279B-324A-B7E8-61D756839FCC}" srcOrd="0" destOrd="0" parTransId="{6BD77C4B-1A67-2348-81BE-54B62BAA4A59}" sibTransId="{82CC64C9-DE62-D645-9B1E-FF3A3F30CBDD}"/>
    <dgm:cxn modelId="{BE545918-3625-3A4E-B6B4-032D94AE5932}" type="presOf" srcId="{D3802228-14AA-7042-B203-6F18BD5F4775}" destId="{DED6AE37-7B07-0248-8DC1-8A023D941DB5}" srcOrd="0" destOrd="0" presId="urn:microsoft.com/office/officeart/2005/8/layout/lProcess2"/>
    <dgm:cxn modelId="{52E93C1D-710C-9543-90D2-C3D72F863101}" srcId="{D3802228-14AA-7042-B203-6F18BD5F4775}" destId="{09BD38BC-CF17-FC41-A565-CDC57E3F94A9}" srcOrd="1" destOrd="0" parTransId="{EDA7AD70-C4BD-1C4C-90FE-DC95A8131A07}" sibTransId="{2D567190-9E0F-BD48-9A83-406176D22F26}"/>
    <dgm:cxn modelId="{FE154520-4EA3-4E36-9CE4-7C176664D7FE}" type="presOf" srcId="{E7B6E247-3AA4-406D-BEA0-3B7014C5892F}" destId="{20EDDE44-A06E-4931-A819-03E73611E52B}" srcOrd="0" destOrd="1" presId="urn:microsoft.com/office/officeart/2005/8/layout/lProcess2"/>
    <dgm:cxn modelId="{40FD0029-7DC1-498B-96B5-60ACB006BA5C}" srcId="{D3802228-14AA-7042-B203-6F18BD5F4775}" destId="{7B3502C2-EADC-436A-998B-0DE91ECE44D8}" srcOrd="2" destOrd="0" parTransId="{0BF9E777-CD18-4C5C-93FD-45FCEA261C6E}" sibTransId="{789A528D-79C5-4750-9596-45D56BA203D8}"/>
    <dgm:cxn modelId="{E5CD6B2A-51A8-4448-A931-C6E14B83545D}" type="presOf" srcId="{6DBB6E41-9F95-4EE6-8373-A3A55DB2B25F}" destId="{BFF3DA0C-DFE2-AF40-9856-A5CFDBB976C7}" srcOrd="0" destOrd="1" presId="urn:microsoft.com/office/officeart/2005/8/layout/lProcess2"/>
    <dgm:cxn modelId="{827D422B-2DF8-4D92-8CDA-2B9A6CC2202E}" srcId="{A739F81B-0B99-47BD-90C3-BCB33EF46C46}" destId="{96A7FA77-1583-45F3-A09A-6744BB465F84}" srcOrd="2" destOrd="0" parTransId="{DFBCF526-88B5-425C-9DE8-113ADA1BD829}" sibTransId="{857D787A-454B-448D-A3E9-A457CD358EBD}"/>
    <dgm:cxn modelId="{9016972F-BC06-4C69-AE0A-44142199B986}" srcId="{D3802228-14AA-7042-B203-6F18BD5F4775}" destId="{A739F81B-0B99-47BD-90C3-BCB33EF46C46}" srcOrd="4" destOrd="0" parTransId="{47F6B63F-EA0E-4A16-B426-10FEAF1A5646}" sibTransId="{A474B60D-B760-4E94-8EB0-2D9C793EEABA}"/>
    <dgm:cxn modelId="{470FFC36-9675-460E-8480-A3F7CD291303}" srcId="{DA2064FF-DFE9-41D4-8187-E8CCD9B45DF7}" destId="{0C1D7C88-865F-46E0-B5BE-5F9AB0006AED}" srcOrd="1" destOrd="0" parTransId="{B941708B-7C4E-4EA0-8547-D23E164F5393}" sibTransId="{6E43708D-6430-41C9-AE80-73578B1EEE9F}"/>
    <dgm:cxn modelId="{5521AB38-E473-2344-A536-E1A8AC2EDD47}" srcId="{42859F9E-279B-324A-B7E8-61D756839FCC}" destId="{92513CC2-A95C-4442-AAB4-C8D5FD7A1475}" srcOrd="0" destOrd="0" parTransId="{B90D2AF3-99E8-1149-9358-E94ADB752892}" sibTransId="{ED4E0AC5-23D4-2346-8BB1-5237388ABBBB}"/>
    <dgm:cxn modelId="{2EB7C139-9A87-430A-B908-B4F8DF0EB06D}" type="presOf" srcId="{7B3502C2-EADC-436A-998B-0DE91ECE44D8}" destId="{EF5F4025-B90E-42D4-9FA3-9D34F17CE8FF}" srcOrd="1" destOrd="0" presId="urn:microsoft.com/office/officeart/2005/8/layout/lProcess2"/>
    <dgm:cxn modelId="{4753F53E-B6F7-4EC9-80EF-0C59B6EF437E}" srcId="{A739F81B-0B99-47BD-90C3-BCB33EF46C46}" destId="{90779B85-7897-44C0-A4AE-CD2AF8C1E2C8}" srcOrd="1" destOrd="0" parTransId="{7456DB82-FEB5-49D9-9215-68ECE67AB419}" sibTransId="{E6ABF4F5-586B-41E1-8D5D-C7CFFA32960E}"/>
    <dgm:cxn modelId="{1F93225B-42DC-4346-B510-5DCA9D1233CD}" type="presOf" srcId="{0C1D7C88-865F-46E0-B5BE-5F9AB0006AED}" destId="{5F85A6D5-AC56-47B9-AE74-C92AA41B1F5F}" srcOrd="0" destOrd="2" presId="urn:microsoft.com/office/officeart/2005/8/layout/lProcess2"/>
    <dgm:cxn modelId="{33ECC262-B040-094B-BF10-FF5EBC6F6C7B}" type="presOf" srcId="{09BD38BC-CF17-FC41-A565-CDC57E3F94A9}" destId="{8D31DCC8-6358-164B-956F-3F1DDB22B3A8}" srcOrd="1" destOrd="0" presId="urn:microsoft.com/office/officeart/2005/8/layout/lProcess2"/>
    <dgm:cxn modelId="{33717244-7D99-4A68-9700-0886C69F132F}" srcId="{8D49DACF-926F-7B4E-92BB-AF2D0E553D16}" destId="{A45BA945-EBBB-4F89-B538-DBD2F1ECF270}" srcOrd="1" destOrd="0" parTransId="{FD85CD68-A953-41AD-A9DC-BFC201209855}" sibTransId="{510AA4B8-BC87-43F2-A805-D22F617119FB}"/>
    <dgm:cxn modelId="{FE6C8664-912F-48C6-BA65-38A378416035}" type="presOf" srcId="{604CBBDA-5A33-4462-A10A-D1CBB4A57891}" destId="{20EDDE44-A06E-4931-A819-03E73611E52B}" srcOrd="0" destOrd="0" presId="urn:microsoft.com/office/officeart/2005/8/layout/lProcess2"/>
    <dgm:cxn modelId="{DB45D865-9C0C-EE41-A41A-E95AEEF53EDA}" type="presOf" srcId="{92513CC2-A95C-4442-AAB4-C8D5FD7A1475}" destId="{4046C4FC-0B95-C640-B6D4-0A647C4122F4}" srcOrd="0" destOrd="0" presId="urn:microsoft.com/office/officeart/2005/8/layout/lProcess2"/>
    <dgm:cxn modelId="{53C3E547-03AB-41F9-AD40-CCB8B1D81926}" type="presOf" srcId="{7E55C154-B29B-4358-8E12-833B5AA257A5}" destId="{C39F1A3D-298C-456F-A63D-E86B8BB1D3E1}" srcOrd="0" destOrd="0" presId="urn:microsoft.com/office/officeart/2005/8/layout/lProcess2"/>
    <dgm:cxn modelId="{CD69AE68-0A95-C44F-A7D9-1484A17475BE}" type="presOf" srcId="{28C9EE4C-CAC4-3D47-BEAA-2115FF8E693F}" destId="{5A701B83-6950-2146-9658-FC4BC261929C}" srcOrd="0" destOrd="0" presId="urn:microsoft.com/office/officeart/2005/8/layout/lProcess2"/>
    <dgm:cxn modelId="{CB02E068-E351-4640-9D24-4D9E21EE278F}" type="presOf" srcId="{7B3502C2-EADC-436A-998B-0DE91ECE44D8}" destId="{C205FEF3-C259-4E89-BF06-F316177B200B}" srcOrd="0" destOrd="0" presId="urn:microsoft.com/office/officeart/2005/8/layout/lProcess2"/>
    <dgm:cxn modelId="{FFF6604A-6B5E-7049-8850-D4F1B26B07CD}" type="presOf" srcId="{09BD38BC-CF17-FC41-A565-CDC57E3F94A9}" destId="{588AF5E3-45D9-7746-B5C7-913B0EA68683}" srcOrd="0" destOrd="0" presId="urn:microsoft.com/office/officeart/2005/8/layout/lProcess2"/>
    <dgm:cxn modelId="{4F3CE24A-9312-431F-991F-74DE992ACF25}" srcId="{92513CC2-A95C-4442-AAB4-C8D5FD7A1475}" destId="{038EA55D-1F13-4335-AE4B-51DE8CC8551D}" srcOrd="1" destOrd="0" parTransId="{4BB06083-C5EF-4670-B40B-C1F678EFC961}" sibTransId="{F58F3B28-8BF2-429E-8F97-D44EE2F6BFC8}"/>
    <dgm:cxn modelId="{1EEAC24B-0310-4075-97CF-1E482AF65C8F}" srcId="{42859F9E-279B-324A-B7E8-61D756839FCC}" destId="{39E7A439-D2D2-4592-862F-F644AAA130F8}" srcOrd="2" destOrd="0" parTransId="{7676C984-CB39-41A8-B5C8-48E0D743FD91}" sibTransId="{7987B8DA-5E7C-41DD-A0FC-97ABC7910022}"/>
    <dgm:cxn modelId="{3E6CE74C-75A6-48A2-9A0D-AD7C7C2CFF7F}" type="presOf" srcId="{A1D5315C-4853-4E37-9758-2278326E4660}" destId="{17D2D860-5E02-4BE3-B8AC-6FF36333CD8A}" srcOrd="0" destOrd="2" presId="urn:microsoft.com/office/officeart/2005/8/layout/lProcess2"/>
    <dgm:cxn modelId="{69C6584E-2AB1-42C1-A1B5-C390EA0AE105}" srcId="{A739F81B-0B99-47BD-90C3-BCB33EF46C46}" destId="{7E55C154-B29B-4358-8E12-833B5AA257A5}" srcOrd="0" destOrd="0" parTransId="{5A88BF55-F124-4855-8C07-3C9230588EC4}" sibTransId="{C4B1A032-12BD-4A8A-94EE-C27BC90C5BB3}"/>
    <dgm:cxn modelId="{A83E3A54-ED26-4B90-92FF-3B5A51543B5D}" type="presOf" srcId="{32933FAA-F08D-40BA-A03C-AF33AEC150FB}" destId="{76954BBF-B09E-458E-A42A-20FE2A992636}" srcOrd="0" destOrd="0" presId="urn:microsoft.com/office/officeart/2005/8/layout/lProcess2"/>
    <dgm:cxn modelId="{38626759-4E72-6442-BE47-15DD884AACF6}" type="presOf" srcId="{42859F9E-279B-324A-B7E8-61D756839FCC}" destId="{FC98FD0B-FAEB-3B40-AF71-AD17B8912192}" srcOrd="1" destOrd="0" presId="urn:microsoft.com/office/officeart/2005/8/layout/lProcess2"/>
    <dgm:cxn modelId="{ED0A9F7D-8DC9-4345-83A9-9169370B9CA4}" type="presOf" srcId="{038EA55D-1F13-4335-AE4B-51DE8CC8551D}" destId="{4046C4FC-0B95-C640-B6D4-0A647C4122F4}" srcOrd="0" destOrd="2" presId="urn:microsoft.com/office/officeart/2005/8/layout/lProcess2"/>
    <dgm:cxn modelId="{D64D2F80-9CC7-444F-B081-9E599DB94D79}" srcId="{D3802228-14AA-7042-B203-6F18BD5F4775}" destId="{8D49DACF-926F-7B4E-92BB-AF2D0E553D16}" srcOrd="3" destOrd="0" parTransId="{D5FCC991-4703-E64C-85BF-42D396AF7FB8}" sibTransId="{4A521732-285A-2B4A-A47B-5F7BA6894525}"/>
    <dgm:cxn modelId="{CA239A86-78BE-4729-8DB7-7B755870B188}" srcId="{92513CC2-A95C-4442-AAB4-C8D5FD7A1475}" destId="{D8A1F88C-32C0-485A-A859-5D6F7BCEBC48}" srcOrd="0" destOrd="0" parTransId="{913BFD7E-5DBE-48A9-A907-EB4885102B59}" sibTransId="{4527C124-0D45-4271-A474-6FA2959FD8DB}"/>
    <dgm:cxn modelId="{2C834087-74A3-4089-A88D-5018265C8614}" srcId="{E3A04FC2-9689-774D-A24B-3B37DCE6F821}" destId="{6DBB6E41-9F95-4EE6-8373-A3A55DB2B25F}" srcOrd="0" destOrd="0" parTransId="{78032237-1B4B-414E-B544-581E7EA3975F}" sibTransId="{74938347-D688-4F8D-958D-F8A10F4E94BE}"/>
    <dgm:cxn modelId="{ED0B9389-9179-467D-A189-7DEEC25770E1}" type="presOf" srcId="{DA2064FF-DFE9-41D4-8187-E8CCD9B45DF7}" destId="{5F85A6D5-AC56-47B9-AE74-C92AA41B1F5F}" srcOrd="0" destOrd="0" presId="urn:microsoft.com/office/officeart/2005/8/layout/lProcess2"/>
    <dgm:cxn modelId="{A34BFC94-B89D-4BC2-8D0F-32FC5883EB38}" type="presOf" srcId="{A739F81B-0B99-47BD-90C3-BCB33EF46C46}" destId="{FEE89869-DE81-4B7A-A7E5-ADA85F7A0CB5}" srcOrd="1" destOrd="0" presId="urn:microsoft.com/office/officeart/2005/8/layout/lProcess2"/>
    <dgm:cxn modelId="{5FB64B95-0F4F-4F8A-A3C0-66B24F05924C}" srcId="{7B3502C2-EADC-436A-998B-0DE91ECE44D8}" destId="{604CBBDA-5A33-4462-A10A-D1CBB4A57891}" srcOrd="0" destOrd="0" parTransId="{74872B83-0A87-47E2-AB44-B23C92E13760}" sibTransId="{0743FDC1-23FE-456C-958E-152F0AAE4EB7}"/>
    <dgm:cxn modelId="{C90D7D95-9DA4-4BDA-AE0E-670E6A8A7C44}" type="presOf" srcId="{39E7A439-D2D2-4592-862F-F644AAA130F8}" destId="{458EDD88-C16A-47C6-8308-6026BD49CB49}" srcOrd="0" destOrd="0" presId="urn:microsoft.com/office/officeart/2005/8/layout/lProcess2"/>
    <dgm:cxn modelId="{9569DD95-F62C-C841-A9FC-9288CECFDDE1}" type="presOf" srcId="{8D49DACF-926F-7B4E-92BB-AF2D0E553D16}" destId="{7F7C0B6D-67FB-6E4F-BD32-0B13CA04E13D}" srcOrd="0" destOrd="0" presId="urn:microsoft.com/office/officeart/2005/8/layout/lProcess2"/>
    <dgm:cxn modelId="{3FF91896-B04E-4F10-AEFE-267D3CE80AAA}" type="presOf" srcId="{ABE72245-FCAB-4110-96A3-D0D663C7DF59}" destId="{17D2D860-5E02-4BE3-B8AC-6FF36333CD8A}" srcOrd="0" destOrd="1" presId="urn:microsoft.com/office/officeart/2005/8/layout/lProcess2"/>
    <dgm:cxn modelId="{D55F429A-EE63-4C41-9BE8-ACB699AF8D57}" srcId="{604CBBDA-5A33-4462-A10A-D1CBB4A57891}" destId="{E7B6E247-3AA4-406D-BEA0-3B7014C5892F}" srcOrd="0" destOrd="0" parTransId="{AAF82705-6A2E-461E-9D46-A227C25DCE8E}" sibTransId="{02E4CF34-9C4C-44CE-ABE6-51CE6EFB495C}"/>
    <dgm:cxn modelId="{620CB49B-47D9-0646-94BE-4609F51BBD2B}" type="presOf" srcId="{42859F9E-279B-324A-B7E8-61D756839FCC}" destId="{117C0457-4105-7E41-8990-657F71B8C270}" srcOrd="0" destOrd="0" presId="urn:microsoft.com/office/officeart/2005/8/layout/lProcess2"/>
    <dgm:cxn modelId="{7A60E3A2-8199-4D66-AB86-1E137DAF90FC}" type="presOf" srcId="{D8A1F88C-32C0-485A-A859-5D6F7BCEBC48}" destId="{4046C4FC-0B95-C640-B6D4-0A647C4122F4}" srcOrd="0" destOrd="1" presId="urn:microsoft.com/office/officeart/2005/8/layout/lProcess2"/>
    <dgm:cxn modelId="{0193E8AE-4A2D-4C9A-84F5-861677ABC058}" srcId="{09BD38BC-CF17-FC41-A565-CDC57E3F94A9}" destId="{497A0AC9-7DEA-41DD-8688-C9AA39F3C81B}" srcOrd="1" destOrd="0" parTransId="{9F2CBB1A-6C3A-464A-91EC-902939C666B7}" sibTransId="{299E7AB0-61ED-4CB5-8B5B-BC3B7799F24E}"/>
    <dgm:cxn modelId="{DD7355BA-677D-411E-92E8-11CBE2DB50CF}" srcId="{497A0AC9-7DEA-41DD-8688-C9AA39F3C81B}" destId="{5572EC6B-D574-4917-86A6-31B30C50F3A1}" srcOrd="2" destOrd="0" parTransId="{E2AF38CE-85F6-4254-92DE-C96858FD4601}" sibTransId="{3C498F5F-9940-4325-A24D-192FCF12EE92}"/>
    <dgm:cxn modelId="{85EA8CBC-7D4D-4460-AD69-637807C4C801}" srcId="{497A0AC9-7DEA-41DD-8688-C9AA39F3C81B}" destId="{ABE72245-FCAB-4110-96A3-D0D663C7DF59}" srcOrd="0" destOrd="0" parTransId="{38C16CF9-4C6F-422F-BB62-7BA527A21F48}" sibTransId="{BD003D6E-CB7E-43EC-931D-7C03587B99CA}"/>
    <dgm:cxn modelId="{8F85D0BE-8B1D-445D-B85E-C075631C2E4A}" srcId="{DA2064FF-DFE9-41D4-8187-E8CCD9B45DF7}" destId="{C04A9133-3561-4DEF-9A33-39EAAC42FAF8}" srcOrd="2" destOrd="0" parTransId="{F49B3D2E-D71F-49AF-B1B1-D60DF6BD6475}" sibTransId="{C5A46386-17D9-4ADA-8E44-1404CB5FE5C7}"/>
    <dgm:cxn modelId="{6B4D2FCA-08A7-43AA-B2AE-20C86FC95FEA}" srcId="{42859F9E-279B-324A-B7E8-61D756839FCC}" destId="{DA2064FF-DFE9-41D4-8187-E8CCD9B45DF7}" srcOrd="1" destOrd="0" parTransId="{FC32C19A-67EB-49D2-B2D9-277DC8B36060}" sibTransId="{9E9DD36D-720B-4A25-880D-D997FACDAD92}"/>
    <dgm:cxn modelId="{F1BD0DCD-B340-4089-985E-375AC173E88F}" type="presOf" srcId="{90779B85-7897-44C0-A4AE-CD2AF8C1E2C8}" destId="{122948D0-11A2-4EAF-BE9A-0A9B67061432}" srcOrd="0" destOrd="0" presId="urn:microsoft.com/office/officeart/2005/8/layout/lProcess2"/>
    <dgm:cxn modelId="{284276D1-E8B8-4162-984A-4217DD946806}" type="presOf" srcId="{A45BA945-EBBB-4F89-B538-DBD2F1ECF270}" destId="{B0E7F83C-6AD1-4AA7-9E7E-A5A75DCA7BAF}" srcOrd="0" destOrd="0" presId="urn:microsoft.com/office/officeart/2005/8/layout/lProcess2"/>
    <dgm:cxn modelId="{CDC846D3-BD45-4F5F-B995-0832DF6E8AE5}" type="presOf" srcId="{497A0AC9-7DEA-41DD-8688-C9AA39F3C81B}" destId="{17D2D860-5E02-4BE3-B8AC-6FF36333CD8A}" srcOrd="0" destOrd="0" presId="urn:microsoft.com/office/officeart/2005/8/layout/lProcess2"/>
    <dgm:cxn modelId="{14B222D8-4743-4AB2-A400-D98F72749E3D}" srcId="{497A0AC9-7DEA-41DD-8688-C9AA39F3C81B}" destId="{A1D5315C-4853-4E37-9758-2278326E4660}" srcOrd="1" destOrd="0" parTransId="{9A26B025-1703-464F-BFEE-D92E50B83BF2}" sibTransId="{2A591D53-475B-4285-AEA8-072A7E2F45FE}"/>
    <dgm:cxn modelId="{8D3E8DD9-305A-4E08-943E-AB8D3D479777}" srcId="{7B3502C2-EADC-436A-998B-0DE91ECE44D8}" destId="{32933FAA-F08D-40BA-A03C-AF33AEC150FB}" srcOrd="1" destOrd="0" parTransId="{8056687D-FA25-44FF-80C4-9D4C3023F083}" sibTransId="{0C76D58D-82F4-4AED-930E-61E5321D00A1}"/>
    <dgm:cxn modelId="{033AD2DE-E309-0D4E-8841-4C32E5FE1BC4}" type="presOf" srcId="{8D49DACF-926F-7B4E-92BB-AF2D0E553D16}" destId="{90B60915-D34A-4E40-B433-FB7551C53E25}" srcOrd="1" destOrd="0" presId="urn:microsoft.com/office/officeart/2005/8/layout/lProcess2"/>
    <dgm:cxn modelId="{430735E1-1B7D-4F53-8BDC-FED94B6FFCF6}" type="presOf" srcId="{96A7FA77-1583-45F3-A09A-6744BB465F84}" destId="{171AE3A5-1DFC-43CD-A81F-1448D93A85FD}" srcOrd="0" destOrd="0" presId="urn:microsoft.com/office/officeart/2005/8/layout/lProcess2"/>
    <dgm:cxn modelId="{9E29E2E6-4003-2644-80CF-62009A8E244F}" srcId="{8D49DACF-926F-7B4E-92BB-AF2D0E553D16}" destId="{E3A04FC2-9689-774D-A24B-3B37DCE6F821}" srcOrd="0" destOrd="0" parTransId="{38A849B0-7005-7342-9C0B-EA88602B2BA1}" sibTransId="{0DFC3A38-E0B8-6845-81C0-D7ECA2ABDBD6}"/>
    <dgm:cxn modelId="{CA4D21E7-A8F8-EE4C-A966-87BEB9B2DD2F}" srcId="{09BD38BC-CF17-FC41-A565-CDC57E3F94A9}" destId="{28C9EE4C-CAC4-3D47-BEAA-2115FF8E693F}" srcOrd="0" destOrd="0" parTransId="{42A1047B-3B54-2D46-9435-7938F36986BB}" sibTransId="{A087E3F9-7D90-7542-B7B1-0CCB234F4DE6}"/>
    <dgm:cxn modelId="{4F20FCF1-A9D2-4C75-9117-35954CB817B2}" type="presOf" srcId="{5572EC6B-D574-4917-86A6-31B30C50F3A1}" destId="{17D2D860-5E02-4BE3-B8AC-6FF36333CD8A}" srcOrd="0" destOrd="3" presId="urn:microsoft.com/office/officeart/2005/8/layout/lProcess2"/>
    <dgm:cxn modelId="{FB351BF7-B594-484D-B8C6-3FC4748C8B2A}" type="presOf" srcId="{B7124AA1-E36B-4848-B19C-A359D1679940}" destId="{5F85A6D5-AC56-47B9-AE74-C92AA41B1F5F}" srcOrd="0" destOrd="1" presId="urn:microsoft.com/office/officeart/2005/8/layout/lProcess2"/>
    <dgm:cxn modelId="{7D3777F8-5FFD-40B7-AB51-7703B8B84F02}" type="presOf" srcId="{C04A9133-3561-4DEF-9A33-39EAAC42FAF8}" destId="{5F85A6D5-AC56-47B9-AE74-C92AA41B1F5F}" srcOrd="0" destOrd="3" presId="urn:microsoft.com/office/officeart/2005/8/layout/lProcess2"/>
    <dgm:cxn modelId="{2F386AFA-E85A-C149-BBAB-DD0831316BAE}" type="presOf" srcId="{E3A04FC2-9689-774D-A24B-3B37DCE6F821}" destId="{BFF3DA0C-DFE2-AF40-9856-A5CFDBB976C7}" srcOrd="0" destOrd="0" presId="urn:microsoft.com/office/officeart/2005/8/layout/lProcess2"/>
    <dgm:cxn modelId="{AC26E9D4-5163-0846-997C-C39A3F0C6B24}" type="presParOf" srcId="{DED6AE37-7B07-0248-8DC1-8A023D941DB5}" destId="{F5E98FD3-EE84-E54B-85AC-A0741BF6B43B}" srcOrd="0" destOrd="0" presId="urn:microsoft.com/office/officeart/2005/8/layout/lProcess2"/>
    <dgm:cxn modelId="{3D92199E-7753-F545-826C-181A61A75486}" type="presParOf" srcId="{F5E98FD3-EE84-E54B-85AC-A0741BF6B43B}" destId="{117C0457-4105-7E41-8990-657F71B8C270}" srcOrd="0" destOrd="0" presId="urn:microsoft.com/office/officeart/2005/8/layout/lProcess2"/>
    <dgm:cxn modelId="{CCCCCACE-D279-634A-9F3D-D401F131C9C2}" type="presParOf" srcId="{F5E98FD3-EE84-E54B-85AC-A0741BF6B43B}" destId="{FC98FD0B-FAEB-3B40-AF71-AD17B8912192}" srcOrd="1" destOrd="0" presId="urn:microsoft.com/office/officeart/2005/8/layout/lProcess2"/>
    <dgm:cxn modelId="{CBAE414B-4E55-924C-B184-57939169A9E2}" type="presParOf" srcId="{F5E98FD3-EE84-E54B-85AC-A0741BF6B43B}" destId="{FFA409BF-516D-124D-AEDD-56F148093C8E}" srcOrd="2" destOrd="0" presId="urn:microsoft.com/office/officeart/2005/8/layout/lProcess2"/>
    <dgm:cxn modelId="{1BB06B81-6548-B146-A365-364199C8CBA5}" type="presParOf" srcId="{FFA409BF-516D-124D-AEDD-56F148093C8E}" destId="{4D86203D-28DE-F34B-81BD-610D49BE6EA7}" srcOrd="0" destOrd="0" presId="urn:microsoft.com/office/officeart/2005/8/layout/lProcess2"/>
    <dgm:cxn modelId="{78BD1488-D605-6D4B-ADEE-20CB2B39AB22}" type="presParOf" srcId="{4D86203D-28DE-F34B-81BD-610D49BE6EA7}" destId="{4046C4FC-0B95-C640-B6D4-0A647C4122F4}" srcOrd="0" destOrd="0" presId="urn:microsoft.com/office/officeart/2005/8/layout/lProcess2"/>
    <dgm:cxn modelId="{F7D2268C-789D-433D-8210-B305D6404FF9}" type="presParOf" srcId="{4D86203D-28DE-F34B-81BD-610D49BE6EA7}" destId="{BD314941-FBD9-42EE-8243-CDFED332E057}" srcOrd="1" destOrd="0" presId="urn:microsoft.com/office/officeart/2005/8/layout/lProcess2"/>
    <dgm:cxn modelId="{3F947B16-5D11-4C97-BC24-B90212393DF4}" type="presParOf" srcId="{4D86203D-28DE-F34B-81BD-610D49BE6EA7}" destId="{5F85A6D5-AC56-47B9-AE74-C92AA41B1F5F}" srcOrd="2" destOrd="0" presId="urn:microsoft.com/office/officeart/2005/8/layout/lProcess2"/>
    <dgm:cxn modelId="{AC2D48B4-8BD7-4AA0-9CBD-FD1ED1E5DEB5}" type="presParOf" srcId="{4D86203D-28DE-F34B-81BD-610D49BE6EA7}" destId="{7DADFD58-E107-4375-BD4F-5CC0A160BDDD}" srcOrd="3" destOrd="0" presId="urn:microsoft.com/office/officeart/2005/8/layout/lProcess2"/>
    <dgm:cxn modelId="{B763E90A-A48A-4C9B-8192-D53D0007899B}" type="presParOf" srcId="{4D86203D-28DE-F34B-81BD-610D49BE6EA7}" destId="{458EDD88-C16A-47C6-8308-6026BD49CB49}" srcOrd="4" destOrd="0" presId="urn:microsoft.com/office/officeart/2005/8/layout/lProcess2"/>
    <dgm:cxn modelId="{2549C09B-D370-434A-9854-3321AA8E57FD}" type="presParOf" srcId="{DED6AE37-7B07-0248-8DC1-8A023D941DB5}" destId="{E6E898BC-67E2-934E-835B-AE26572F9F79}" srcOrd="1" destOrd="0" presId="urn:microsoft.com/office/officeart/2005/8/layout/lProcess2"/>
    <dgm:cxn modelId="{45C140AC-7D29-2F47-8A26-27ACBEBAF926}" type="presParOf" srcId="{DED6AE37-7B07-0248-8DC1-8A023D941DB5}" destId="{774C717A-F6FD-F54C-9CC1-FE3F8927D283}" srcOrd="2" destOrd="0" presId="urn:microsoft.com/office/officeart/2005/8/layout/lProcess2"/>
    <dgm:cxn modelId="{C46A228E-E6D1-EF4D-B29F-34CB8E51D89F}" type="presParOf" srcId="{774C717A-F6FD-F54C-9CC1-FE3F8927D283}" destId="{588AF5E3-45D9-7746-B5C7-913B0EA68683}" srcOrd="0" destOrd="0" presId="urn:microsoft.com/office/officeart/2005/8/layout/lProcess2"/>
    <dgm:cxn modelId="{224FE8FA-997F-634A-85F1-66D5D60C183D}" type="presParOf" srcId="{774C717A-F6FD-F54C-9CC1-FE3F8927D283}" destId="{8D31DCC8-6358-164B-956F-3F1DDB22B3A8}" srcOrd="1" destOrd="0" presId="urn:microsoft.com/office/officeart/2005/8/layout/lProcess2"/>
    <dgm:cxn modelId="{7DC2A7B6-F2E4-FC44-A0C3-3A2071AD7DFF}" type="presParOf" srcId="{774C717A-F6FD-F54C-9CC1-FE3F8927D283}" destId="{FF5BE1DD-C235-1042-B509-2D7E4BBECD1C}" srcOrd="2" destOrd="0" presId="urn:microsoft.com/office/officeart/2005/8/layout/lProcess2"/>
    <dgm:cxn modelId="{6131D8E0-CD78-E049-9D0A-3D6E4113D49D}" type="presParOf" srcId="{FF5BE1DD-C235-1042-B509-2D7E4BBECD1C}" destId="{85C5A067-8450-D740-B9E6-D0C0514BFE35}" srcOrd="0" destOrd="0" presId="urn:microsoft.com/office/officeart/2005/8/layout/lProcess2"/>
    <dgm:cxn modelId="{6A7E99E0-95B1-5549-AC11-5E6751742E78}" type="presParOf" srcId="{85C5A067-8450-D740-B9E6-D0C0514BFE35}" destId="{5A701B83-6950-2146-9658-FC4BC261929C}" srcOrd="0" destOrd="0" presId="urn:microsoft.com/office/officeart/2005/8/layout/lProcess2"/>
    <dgm:cxn modelId="{FD7E7D0F-161E-4752-9DC2-7430571B4069}" type="presParOf" srcId="{85C5A067-8450-D740-B9E6-D0C0514BFE35}" destId="{ED5DE938-CF6B-4CB4-8A39-98075D26C387}" srcOrd="1" destOrd="0" presId="urn:microsoft.com/office/officeart/2005/8/layout/lProcess2"/>
    <dgm:cxn modelId="{E70B8855-6956-403C-9398-9C73797F81AC}" type="presParOf" srcId="{85C5A067-8450-D740-B9E6-D0C0514BFE35}" destId="{17D2D860-5E02-4BE3-B8AC-6FF36333CD8A}" srcOrd="2" destOrd="0" presId="urn:microsoft.com/office/officeart/2005/8/layout/lProcess2"/>
    <dgm:cxn modelId="{828B1F3B-B23E-194F-8656-CCA0153B6E98}" type="presParOf" srcId="{DED6AE37-7B07-0248-8DC1-8A023D941DB5}" destId="{34EED680-02BD-8643-AC10-5CE2486DB586}" srcOrd="3" destOrd="0" presId="urn:microsoft.com/office/officeart/2005/8/layout/lProcess2"/>
    <dgm:cxn modelId="{07D5483F-B220-4DBC-B7F6-6E8B4E5E7BBA}" type="presParOf" srcId="{DED6AE37-7B07-0248-8DC1-8A023D941DB5}" destId="{7AE295BE-2B4B-4B21-8C12-3FBC84497F3A}" srcOrd="4" destOrd="0" presId="urn:microsoft.com/office/officeart/2005/8/layout/lProcess2"/>
    <dgm:cxn modelId="{267C65D6-A434-45A9-92B3-1D6F6F3B2195}" type="presParOf" srcId="{7AE295BE-2B4B-4B21-8C12-3FBC84497F3A}" destId="{C205FEF3-C259-4E89-BF06-F316177B200B}" srcOrd="0" destOrd="0" presId="urn:microsoft.com/office/officeart/2005/8/layout/lProcess2"/>
    <dgm:cxn modelId="{1F07F93E-D2C7-4C4E-A96B-54E380A7765E}" type="presParOf" srcId="{7AE295BE-2B4B-4B21-8C12-3FBC84497F3A}" destId="{EF5F4025-B90E-42D4-9FA3-9D34F17CE8FF}" srcOrd="1" destOrd="0" presId="urn:microsoft.com/office/officeart/2005/8/layout/lProcess2"/>
    <dgm:cxn modelId="{85D9EEC5-1EE9-40AC-B1F1-BBFF124A7F37}" type="presParOf" srcId="{7AE295BE-2B4B-4B21-8C12-3FBC84497F3A}" destId="{29F718F8-90D0-4D4D-8FFE-2233721A6C78}" srcOrd="2" destOrd="0" presId="urn:microsoft.com/office/officeart/2005/8/layout/lProcess2"/>
    <dgm:cxn modelId="{E6A46E50-DE05-4D77-98A2-96DAA0773565}" type="presParOf" srcId="{29F718F8-90D0-4D4D-8FFE-2233721A6C78}" destId="{AB59DDB8-C365-4075-A6AF-A05C786391B7}" srcOrd="0" destOrd="0" presId="urn:microsoft.com/office/officeart/2005/8/layout/lProcess2"/>
    <dgm:cxn modelId="{A6DF8A37-0810-4E08-A248-E69AA050800A}" type="presParOf" srcId="{AB59DDB8-C365-4075-A6AF-A05C786391B7}" destId="{20EDDE44-A06E-4931-A819-03E73611E52B}" srcOrd="0" destOrd="0" presId="urn:microsoft.com/office/officeart/2005/8/layout/lProcess2"/>
    <dgm:cxn modelId="{A4D06E00-DE10-464A-B79D-72E9C94A317D}" type="presParOf" srcId="{AB59DDB8-C365-4075-A6AF-A05C786391B7}" destId="{A0C31A77-ACDF-4DDB-9849-BD58E2E707C4}" srcOrd="1" destOrd="0" presId="urn:microsoft.com/office/officeart/2005/8/layout/lProcess2"/>
    <dgm:cxn modelId="{5D1F3D05-BD70-4506-ADA6-16218DBE7578}" type="presParOf" srcId="{AB59DDB8-C365-4075-A6AF-A05C786391B7}" destId="{76954BBF-B09E-458E-A42A-20FE2A992636}" srcOrd="2" destOrd="0" presId="urn:microsoft.com/office/officeart/2005/8/layout/lProcess2"/>
    <dgm:cxn modelId="{A7555D0C-CACD-4629-826B-55CCC0476403}" type="presParOf" srcId="{DED6AE37-7B07-0248-8DC1-8A023D941DB5}" destId="{FB275E15-3601-487F-8380-68B362B4E373}" srcOrd="5" destOrd="0" presId="urn:microsoft.com/office/officeart/2005/8/layout/lProcess2"/>
    <dgm:cxn modelId="{D56430F3-0C8C-1549-A541-4878BE034750}" type="presParOf" srcId="{DED6AE37-7B07-0248-8DC1-8A023D941DB5}" destId="{22EA4981-D514-A942-95F9-F7AFC4C206A7}" srcOrd="6" destOrd="0" presId="urn:microsoft.com/office/officeart/2005/8/layout/lProcess2"/>
    <dgm:cxn modelId="{BA5C5C75-3F67-5E45-825A-91C02FFB9DD1}" type="presParOf" srcId="{22EA4981-D514-A942-95F9-F7AFC4C206A7}" destId="{7F7C0B6D-67FB-6E4F-BD32-0B13CA04E13D}" srcOrd="0" destOrd="0" presId="urn:microsoft.com/office/officeart/2005/8/layout/lProcess2"/>
    <dgm:cxn modelId="{C75F5EC9-E800-7A42-8879-179C67F831AC}" type="presParOf" srcId="{22EA4981-D514-A942-95F9-F7AFC4C206A7}" destId="{90B60915-D34A-4E40-B433-FB7551C53E25}" srcOrd="1" destOrd="0" presId="urn:microsoft.com/office/officeart/2005/8/layout/lProcess2"/>
    <dgm:cxn modelId="{65A1B35F-E9F2-0B45-BEAA-43A3B6DF07A1}" type="presParOf" srcId="{22EA4981-D514-A942-95F9-F7AFC4C206A7}" destId="{40163FCC-50B6-A145-92F9-A2C35515816E}" srcOrd="2" destOrd="0" presId="urn:microsoft.com/office/officeart/2005/8/layout/lProcess2"/>
    <dgm:cxn modelId="{CC518F10-4623-9245-8FCC-00D0AC7ADDE0}" type="presParOf" srcId="{40163FCC-50B6-A145-92F9-A2C35515816E}" destId="{6823C245-6E38-4044-BEA7-387F79230221}" srcOrd="0" destOrd="0" presId="urn:microsoft.com/office/officeart/2005/8/layout/lProcess2"/>
    <dgm:cxn modelId="{2B6E22F4-D896-BB48-94FE-64CB42D0B38D}" type="presParOf" srcId="{6823C245-6E38-4044-BEA7-387F79230221}" destId="{BFF3DA0C-DFE2-AF40-9856-A5CFDBB976C7}" srcOrd="0" destOrd="0" presId="urn:microsoft.com/office/officeart/2005/8/layout/lProcess2"/>
    <dgm:cxn modelId="{55ACF896-51A3-4EDD-BC83-5C180F74881A}" type="presParOf" srcId="{6823C245-6E38-4044-BEA7-387F79230221}" destId="{A0BEE808-906E-48EF-A064-7460923BAD29}" srcOrd="1" destOrd="0" presId="urn:microsoft.com/office/officeart/2005/8/layout/lProcess2"/>
    <dgm:cxn modelId="{C42D215D-0662-4F8F-A829-4677DB3F80C2}" type="presParOf" srcId="{6823C245-6E38-4044-BEA7-387F79230221}" destId="{B0E7F83C-6AD1-4AA7-9E7E-A5A75DCA7BAF}" srcOrd="2" destOrd="0" presId="urn:microsoft.com/office/officeart/2005/8/layout/lProcess2"/>
    <dgm:cxn modelId="{A347B4BF-55B2-4075-8301-3B3C0C17B6A8}" type="presParOf" srcId="{DED6AE37-7B07-0248-8DC1-8A023D941DB5}" destId="{69BD8936-B082-4DF1-B434-F37C1CC6579A}" srcOrd="7" destOrd="0" presId="urn:microsoft.com/office/officeart/2005/8/layout/lProcess2"/>
    <dgm:cxn modelId="{27D73908-465B-45BA-96FB-13F76A7C10B9}" type="presParOf" srcId="{DED6AE37-7B07-0248-8DC1-8A023D941DB5}" destId="{9C849749-B3A2-4A9B-9804-2566A1E340DB}" srcOrd="8" destOrd="0" presId="urn:microsoft.com/office/officeart/2005/8/layout/lProcess2"/>
    <dgm:cxn modelId="{5EEAF52A-DE4F-48EF-81C7-38E192C78B44}" type="presParOf" srcId="{9C849749-B3A2-4A9B-9804-2566A1E340DB}" destId="{428AE84D-D978-461D-A4F4-ACDC17F06DFD}" srcOrd="0" destOrd="0" presId="urn:microsoft.com/office/officeart/2005/8/layout/lProcess2"/>
    <dgm:cxn modelId="{B09D6869-5042-4FC1-B83A-FD5D368531C7}" type="presParOf" srcId="{9C849749-B3A2-4A9B-9804-2566A1E340DB}" destId="{FEE89869-DE81-4B7A-A7E5-ADA85F7A0CB5}" srcOrd="1" destOrd="0" presId="urn:microsoft.com/office/officeart/2005/8/layout/lProcess2"/>
    <dgm:cxn modelId="{E325EF26-B4A4-4517-A3BE-58570CA00C96}" type="presParOf" srcId="{9C849749-B3A2-4A9B-9804-2566A1E340DB}" destId="{F44A1FC4-2AF2-42B9-B2A3-5321E64AB3BE}" srcOrd="2" destOrd="0" presId="urn:microsoft.com/office/officeart/2005/8/layout/lProcess2"/>
    <dgm:cxn modelId="{46E663B0-694E-47B5-AA63-8B4FAD860DA7}" type="presParOf" srcId="{F44A1FC4-2AF2-42B9-B2A3-5321E64AB3BE}" destId="{07381F92-67CE-4E5B-A45B-B5BB35F08BA0}" srcOrd="0" destOrd="0" presId="urn:microsoft.com/office/officeart/2005/8/layout/lProcess2"/>
    <dgm:cxn modelId="{1E29A24D-44F0-4C85-A313-8654B890817B}" type="presParOf" srcId="{07381F92-67CE-4E5B-A45B-B5BB35F08BA0}" destId="{C39F1A3D-298C-456F-A63D-E86B8BB1D3E1}" srcOrd="0" destOrd="0" presId="urn:microsoft.com/office/officeart/2005/8/layout/lProcess2"/>
    <dgm:cxn modelId="{92B1E72F-9836-49E6-9A12-D349CDFEBE09}" type="presParOf" srcId="{07381F92-67CE-4E5B-A45B-B5BB35F08BA0}" destId="{77E86313-D105-4848-BBE8-A109131D39BC}" srcOrd="1" destOrd="0" presId="urn:microsoft.com/office/officeart/2005/8/layout/lProcess2"/>
    <dgm:cxn modelId="{2BC4A9BA-40F2-4F34-B192-C66AD011F1D1}" type="presParOf" srcId="{07381F92-67CE-4E5B-A45B-B5BB35F08BA0}" destId="{122948D0-11A2-4EAF-BE9A-0A9B67061432}" srcOrd="2" destOrd="0" presId="urn:microsoft.com/office/officeart/2005/8/layout/lProcess2"/>
    <dgm:cxn modelId="{6DA6F2AD-ED8C-470D-AA84-E82C480242C1}" type="presParOf" srcId="{07381F92-67CE-4E5B-A45B-B5BB35F08BA0}" destId="{71EE6FA9-592A-4F29-9CA8-24250D5C7589}" srcOrd="3" destOrd="0" presId="urn:microsoft.com/office/officeart/2005/8/layout/lProcess2"/>
    <dgm:cxn modelId="{AEAA9F1C-5F56-418B-A5B7-A8A2B0C18582}" type="presParOf" srcId="{07381F92-67CE-4E5B-A45B-B5BB35F08BA0}" destId="{171AE3A5-1DFC-43CD-A81F-1448D93A85FD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33BCB4F-DAC3-4495-9410-3F5EEB5D550A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7728FD05-DC23-4AE7-995F-D01F1923C26F}">
      <dgm:prSet phldrT="[Text]"/>
      <dgm:spPr/>
      <dgm:t>
        <a:bodyPr/>
        <a:lstStyle/>
        <a:p>
          <a:endParaRPr lang="de-DE"/>
        </a:p>
      </dgm:t>
    </dgm:pt>
    <dgm:pt modelId="{6ADB8C8E-375B-4856-A639-945CBD934736}" type="parTrans" cxnId="{D1011656-956B-4F4A-9C33-D97C1DF5043C}">
      <dgm:prSet/>
      <dgm:spPr/>
      <dgm:t>
        <a:bodyPr/>
        <a:lstStyle/>
        <a:p>
          <a:endParaRPr lang="de-DE"/>
        </a:p>
      </dgm:t>
    </dgm:pt>
    <dgm:pt modelId="{E382B19D-63F0-4A8A-8C23-5A93317998A0}" type="sibTrans" cxnId="{D1011656-956B-4F4A-9C33-D97C1DF5043C}">
      <dgm:prSet/>
      <dgm:spPr/>
      <dgm:t>
        <a:bodyPr/>
        <a:lstStyle/>
        <a:p>
          <a:endParaRPr lang="de-DE"/>
        </a:p>
      </dgm:t>
    </dgm:pt>
    <dgm:pt modelId="{02D3A1BF-C5E6-4E1D-838A-7917EE2D2016}">
      <dgm:prSet phldrT="[Text]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endParaRPr lang="de-DE"/>
        </a:p>
      </dgm:t>
    </dgm:pt>
    <dgm:pt modelId="{A944A92B-1B23-43E7-9481-C7B477BE77F9}" type="parTrans" cxnId="{1A54FB66-1A35-4970-BBE6-67C700B57E96}">
      <dgm:prSet/>
      <dgm:spPr/>
      <dgm:t>
        <a:bodyPr/>
        <a:lstStyle/>
        <a:p>
          <a:endParaRPr lang="de-DE"/>
        </a:p>
      </dgm:t>
    </dgm:pt>
    <dgm:pt modelId="{17DB8667-8680-43DD-9110-80E2963B0B7D}" type="sibTrans" cxnId="{1A54FB66-1A35-4970-BBE6-67C700B57E96}">
      <dgm:prSet/>
      <dgm:spPr/>
      <dgm:t>
        <a:bodyPr/>
        <a:lstStyle/>
        <a:p>
          <a:endParaRPr lang="de-DE"/>
        </a:p>
      </dgm:t>
    </dgm:pt>
    <dgm:pt modelId="{A41474E7-F2AC-4807-8556-63EE3D1A5B46}">
      <dgm:prSet phldrT="[Text]"/>
      <dgm:spPr>
        <a:solidFill>
          <a:schemeClr val="accent6">
            <a:lumMod val="60000"/>
            <a:lumOff val="40000"/>
            <a:alpha val="50000"/>
          </a:schemeClr>
        </a:solidFill>
      </dgm:spPr>
      <dgm:t>
        <a:bodyPr/>
        <a:lstStyle/>
        <a:p>
          <a:endParaRPr lang="de-DE"/>
        </a:p>
      </dgm:t>
    </dgm:pt>
    <dgm:pt modelId="{0C37EBFC-F43F-4699-9416-516B322CE8A3}" type="parTrans" cxnId="{53B012D7-38D1-46AB-8B5A-65966E9233E8}">
      <dgm:prSet/>
      <dgm:spPr/>
      <dgm:t>
        <a:bodyPr/>
        <a:lstStyle/>
        <a:p>
          <a:endParaRPr lang="de-DE"/>
        </a:p>
      </dgm:t>
    </dgm:pt>
    <dgm:pt modelId="{F6B910AD-CE55-400C-8942-13FF859B6D11}" type="sibTrans" cxnId="{53B012D7-38D1-46AB-8B5A-65966E9233E8}">
      <dgm:prSet/>
      <dgm:spPr/>
      <dgm:t>
        <a:bodyPr/>
        <a:lstStyle/>
        <a:p>
          <a:endParaRPr lang="de-DE"/>
        </a:p>
      </dgm:t>
    </dgm:pt>
    <dgm:pt modelId="{4FDAAC6F-A3E2-49B1-ADF0-FC9233427DFD}" type="pres">
      <dgm:prSet presAssocID="{133BCB4F-DAC3-4495-9410-3F5EEB5D550A}" presName="compositeShape" presStyleCnt="0">
        <dgm:presLayoutVars>
          <dgm:chMax val="7"/>
          <dgm:dir/>
          <dgm:resizeHandles val="exact"/>
        </dgm:presLayoutVars>
      </dgm:prSet>
      <dgm:spPr/>
    </dgm:pt>
    <dgm:pt modelId="{50FAD103-150E-4888-9C6B-5A4A1F4BA25B}" type="pres">
      <dgm:prSet presAssocID="{7728FD05-DC23-4AE7-995F-D01F1923C26F}" presName="circ1" presStyleLbl="vennNode1" presStyleIdx="0" presStyleCnt="3" custScaleX="226746" custScaleY="166667" custLinFactNeighborX="-41233" custLinFactNeighborY="31250"/>
      <dgm:spPr/>
    </dgm:pt>
    <dgm:pt modelId="{91E03DB3-C751-4919-9B97-95C579CC27CF}" type="pres">
      <dgm:prSet presAssocID="{7728FD05-DC23-4AE7-995F-D01F1923C26F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35D7F142-74A1-472A-8233-5F517200545F}" type="pres">
      <dgm:prSet presAssocID="{A41474E7-F2AC-4807-8556-63EE3D1A5B46}" presName="circ2" presStyleLbl="vennNode1" presStyleIdx="1" presStyleCnt="3" custScaleX="257350" custScaleY="166667" custLinFactNeighborX="62497" custLinFactNeighborY="-31250"/>
      <dgm:spPr/>
    </dgm:pt>
    <dgm:pt modelId="{2F84B663-B414-428B-98A0-5B35061E259B}" type="pres">
      <dgm:prSet presAssocID="{A41474E7-F2AC-4807-8556-63EE3D1A5B46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8BF14D8B-AEA4-4203-AAF1-9840AF704AE2}" type="pres">
      <dgm:prSet presAssocID="{02D3A1BF-C5E6-4E1D-838A-7917EE2D2016}" presName="circ3" presStyleLbl="vennNode1" presStyleIdx="2" presStyleCnt="3" custScaleX="98751" custScaleY="99304" custLinFactNeighborX="48949" custLinFactNeighborY="-25183"/>
      <dgm:spPr/>
    </dgm:pt>
    <dgm:pt modelId="{04AA2650-728C-4378-8995-E9C52672C676}" type="pres">
      <dgm:prSet presAssocID="{02D3A1BF-C5E6-4E1D-838A-7917EE2D2016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2F3B8136-E285-4591-8AAC-3836AFF3826E}" type="presOf" srcId="{7728FD05-DC23-4AE7-995F-D01F1923C26F}" destId="{91E03DB3-C751-4919-9B97-95C579CC27CF}" srcOrd="1" destOrd="0" presId="urn:microsoft.com/office/officeart/2005/8/layout/venn1"/>
    <dgm:cxn modelId="{1A54FB66-1A35-4970-BBE6-67C700B57E96}" srcId="{133BCB4F-DAC3-4495-9410-3F5EEB5D550A}" destId="{02D3A1BF-C5E6-4E1D-838A-7917EE2D2016}" srcOrd="2" destOrd="0" parTransId="{A944A92B-1B23-43E7-9481-C7B477BE77F9}" sibTransId="{17DB8667-8680-43DD-9110-80E2963B0B7D}"/>
    <dgm:cxn modelId="{D1011656-956B-4F4A-9C33-D97C1DF5043C}" srcId="{133BCB4F-DAC3-4495-9410-3F5EEB5D550A}" destId="{7728FD05-DC23-4AE7-995F-D01F1923C26F}" srcOrd="0" destOrd="0" parTransId="{6ADB8C8E-375B-4856-A639-945CBD934736}" sibTransId="{E382B19D-63F0-4A8A-8C23-5A93317998A0}"/>
    <dgm:cxn modelId="{356BE05A-0C50-4434-AF34-0DCBF54B5510}" type="presOf" srcId="{02D3A1BF-C5E6-4E1D-838A-7917EE2D2016}" destId="{8BF14D8B-AEA4-4203-AAF1-9840AF704AE2}" srcOrd="0" destOrd="0" presId="urn:microsoft.com/office/officeart/2005/8/layout/venn1"/>
    <dgm:cxn modelId="{8ACCF17F-DEB9-41EA-95A5-DA84C5B82C87}" type="presOf" srcId="{A41474E7-F2AC-4807-8556-63EE3D1A5B46}" destId="{35D7F142-74A1-472A-8233-5F517200545F}" srcOrd="0" destOrd="0" presId="urn:microsoft.com/office/officeart/2005/8/layout/venn1"/>
    <dgm:cxn modelId="{18B64582-811B-4E7C-A0AA-3E7302EEA5B5}" type="presOf" srcId="{133BCB4F-DAC3-4495-9410-3F5EEB5D550A}" destId="{4FDAAC6F-A3E2-49B1-ADF0-FC9233427DFD}" srcOrd="0" destOrd="0" presId="urn:microsoft.com/office/officeart/2005/8/layout/venn1"/>
    <dgm:cxn modelId="{1131B48A-EDA6-4F3C-803F-5E5540C3D56D}" type="presOf" srcId="{A41474E7-F2AC-4807-8556-63EE3D1A5B46}" destId="{2F84B663-B414-428B-98A0-5B35061E259B}" srcOrd="1" destOrd="0" presId="urn:microsoft.com/office/officeart/2005/8/layout/venn1"/>
    <dgm:cxn modelId="{BAA7CDA2-095D-4F57-9E18-F93FB4626743}" type="presOf" srcId="{02D3A1BF-C5E6-4E1D-838A-7917EE2D2016}" destId="{04AA2650-728C-4378-8995-E9C52672C676}" srcOrd="1" destOrd="0" presId="urn:microsoft.com/office/officeart/2005/8/layout/venn1"/>
    <dgm:cxn modelId="{E7ACE1B0-B588-4BA1-9112-C59FB9717AB9}" type="presOf" srcId="{7728FD05-DC23-4AE7-995F-D01F1923C26F}" destId="{50FAD103-150E-4888-9C6B-5A4A1F4BA25B}" srcOrd="0" destOrd="0" presId="urn:microsoft.com/office/officeart/2005/8/layout/venn1"/>
    <dgm:cxn modelId="{53B012D7-38D1-46AB-8B5A-65966E9233E8}" srcId="{133BCB4F-DAC3-4495-9410-3F5EEB5D550A}" destId="{A41474E7-F2AC-4807-8556-63EE3D1A5B46}" srcOrd="1" destOrd="0" parTransId="{0C37EBFC-F43F-4699-9416-516B322CE8A3}" sibTransId="{F6B910AD-CE55-400C-8942-13FF859B6D11}"/>
    <dgm:cxn modelId="{F8E61D93-E408-4519-BA15-2FFBE1F604EF}" type="presParOf" srcId="{4FDAAC6F-A3E2-49B1-ADF0-FC9233427DFD}" destId="{50FAD103-150E-4888-9C6B-5A4A1F4BA25B}" srcOrd="0" destOrd="0" presId="urn:microsoft.com/office/officeart/2005/8/layout/venn1"/>
    <dgm:cxn modelId="{AF634D02-C5E4-4F16-8B69-401828B64994}" type="presParOf" srcId="{4FDAAC6F-A3E2-49B1-ADF0-FC9233427DFD}" destId="{91E03DB3-C751-4919-9B97-95C579CC27CF}" srcOrd="1" destOrd="0" presId="urn:microsoft.com/office/officeart/2005/8/layout/venn1"/>
    <dgm:cxn modelId="{2F4E341A-1A07-4876-A045-A3822CC8F653}" type="presParOf" srcId="{4FDAAC6F-A3E2-49B1-ADF0-FC9233427DFD}" destId="{35D7F142-74A1-472A-8233-5F517200545F}" srcOrd="2" destOrd="0" presId="urn:microsoft.com/office/officeart/2005/8/layout/venn1"/>
    <dgm:cxn modelId="{80BA34D6-DBEB-4F0A-9C08-D26EAF975974}" type="presParOf" srcId="{4FDAAC6F-A3E2-49B1-ADF0-FC9233427DFD}" destId="{2F84B663-B414-428B-98A0-5B35061E259B}" srcOrd="3" destOrd="0" presId="urn:microsoft.com/office/officeart/2005/8/layout/venn1"/>
    <dgm:cxn modelId="{66EDD11F-0889-4A1F-B860-C64930AEB861}" type="presParOf" srcId="{4FDAAC6F-A3E2-49B1-ADF0-FC9233427DFD}" destId="{8BF14D8B-AEA4-4203-AAF1-9840AF704AE2}" srcOrd="4" destOrd="0" presId="urn:microsoft.com/office/officeart/2005/8/layout/venn1"/>
    <dgm:cxn modelId="{8D160484-848D-489A-B153-5BB9870A35D9}" type="presParOf" srcId="{4FDAAC6F-A3E2-49B1-ADF0-FC9233427DFD}" destId="{04AA2650-728C-4378-8995-E9C52672C676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06576B-F669-2E43-B9E2-17BAD55637AB}">
      <dsp:nvSpPr>
        <dsp:cNvPr id="0" name=""/>
        <dsp:cNvSpPr/>
      </dsp:nvSpPr>
      <dsp:spPr>
        <a:xfrm>
          <a:off x="1957421" y="1986755"/>
          <a:ext cx="1620948" cy="1620948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latin typeface="Segoe UI"/>
              <a:ea typeface="+mn-ea"/>
              <a:cs typeface="+mn-cs"/>
            </a:rPr>
            <a:t>Microsoft 365</a:t>
          </a:r>
        </a:p>
      </dsp:txBody>
      <dsp:txXfrm>
        <a:off x="2194803" y="2224137"/>
        <a:ext cx="1146184" cy="1146184"/>
      </dsp:txXfrm>
    </dsp:sp>
    <dsp:sp modelId="{21D6DE7D-4B29-BD45-8388-EDE942DDFAFD}">
      <dsp:nvSpPr>
        <dsp:cNvPr id="0" name=""/>
        <dsp:cNvSpPr/>
      </dsp:nvSpPr>
      <dsp:spPr>
        <a:xfrm rot="12900000">
          <a:off x="865828" y="1687248"/>
          <a:ext cx="1293458" cy="461970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AD536FD-E17F-0846-ADE4-42663E39F90D}">
      <dsp:nvSpPr>
        <dsp:cNvPr id="0" name=""/>
        <dsp:cNvSpPr/>
      </dsp:nvSpPr>
      <dsp:spPr>
        <a:xfrm>
          <a:off x="212837" y="931324"/>
          <a:ext cx="1539901" cy="123192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 err="1">
              <a:latin typeface="Segoe UI"/>
              <a:ea typeface="+mn-ea"/>
              <a:cs typeface="+mn-cs"/>
            </a:rPr>
            <a:t>Produktivitäts-werkzeuge</a:t>
          </a:r>
          <a:endParaRPr lang="en-GB" sz="1600" kern="1200" dirty="0">
            <a:latin typeface="Segoe UI"/>
            <a:ea typeface="+mn-ea"/>
            <a:cs typeface="+mn-cs"/>
          </a:endParaRPr>
        </a:p>
      </dsp:txBody>
      <dsp:txXfrm>
        <a:off x="248919" y="967406"/>
        <a:ext cx="1467737" cy="1159757"/>
      </dsp:txXfrm>
    </dsp:sp>
    <dsp:sp modelId="{4BDB5A8B-A923-3B40-BB9F-26DD6E4C9057}">
      <dsp:nvSpPr>
        <dsp:cNvPr id="0" name=""/>
        <dsp:cNvSpPr/>
      </dsp:nvSpPr>
      <dsp:spPr>
        <a:xfrm rot="16200000">
          <a:off x="2121166" y="1033760"/>
          <a:ext cx="1293458" cy="461970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F6F2BC-01D1-5642-8741-1E4142CA0527}">
      <dsp:nvSpPr>
        <dsp:cNvPr id="0" name=""/>
        <dsp:cNvSpPr/>
      </dsp:nvSpPr>
      <dsp:spPr>
        <a:xfrm>
          <a:off x="1997944" y="2056"/>
          <a:ext cx="1539901" cy="123192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latin typeface="Segoe UI"/>
              <a:ea typeface="+mn-ea"/>
              <a:cs typeface="+mn-cs"/>
            </a:rPr>
            <a:t>Security &amp; Compliance</a:t>
          </a:r>
        </a:p>
      </dsp:txBody>
      <dsp:txXfrm>
        <a:off x="2034026" y="38138"/>
        <a:ext cx="1467737" cy="1159757"/>
      </dsp:txXfrm>
    </dsp:sp>
    <dsp:sp modelId="{709824F2-137D-E545-93CC-8A016662C2D1}">
      <dsp:nvSpPr>
        <dsp:cNvPr id="0" name=""/>
        <dsp:cNvSpPr/>
      </dsp:nvSpPr>
      <dsp:spPr>
        <a:xfrm rot="19500000">
          <a:off x="3376503" y="1687248"/>
          <a:ext cx="1293458" cy="461970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C390EDC-53F6-9441-BE62-2B549A59C850}">
      <dsp:nvSpPr>
        <dsp:cNvPr id="0" name=""/>
        <dsp:cNvSpPr/>
      </dsp:nvSpPr>
      <dsp:spPr>
        <a:xfrm>
          <a:off x="3783052" y="931324"/>
          <a:ext cx="1539901" cy="123192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>
              <a:latin typeface="Segoe UI"/>
              <a:ea typeface="+mn-ea"/>
              <a:cs typeface="+mn-cs"/>
            </a:rPr>
            <a:t>Collaboration Hubs</a:t>
          </a:r>
        </a:p>
      </dsp:txBody>
      <dsp:txXfrm>
        <a:off x="3819134" y="967406"/>
        <a:ext cx="1467737" cy="115975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440C0-7557-3C44-BAB7-50EA4B646749}">
      <dsp:nvSpPr>
        <dsp:cNvPr id="0" name=""/>
        <dsp:cNvSpPr/>
      </dsp:nvSpPr>
      <dsp:spPr>
        <a:xfrm>
          <a:off x="3137960" y="2892572"/>
          <a:ext cx="2084308" cy="195080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b="1" kern="1200" dirty="0">
              <a:latin typeface="Segoe UI" panose="020B0502040204020203" pitchFamily="34" charset="0"/>
              <a:cs typeface="Segoe UI" panose="020B0502040204020203" pitchFamily="34" charset="0"/>
            </a:rPr>
            <a:t>M365 Gruppe</a:t>
          </a:r>
        </a:p>
      </dsp:txBody>
      <dsp:txXfrm>
        <a:off x="3443200" y="3178260"/>
        <a:ext cx="1473828" cy="1379426"/>
      </dsp:txXfrm>
    </dsp:sp>
    <dsp:sp modelId="{6EDB0F23-1D42-8540-AE91-D67F44D7A5B5}">
      <dsp:nvSpPr>
        <dsp:cNvPr id="0" name=""/>
        <dsp:cNvSpPr/>
      </dsp:nvSpPr>
      <dsp:spPr>
        <a:xfrm rot="10800000">
          <a:off x="491304" y="3674160"/>
          <a:ext cx="2501089" cy="387625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DE9E5130-14B5-D146-BD6A-A07CA232ADCE}">
      <dsp:nvSpPr>
        <dsp:cNvPr id="0" name=""/>
        <dsp:cNvSpPr/>
      </dsp:nvSpPr>
      <dsp:spPr>
        <a:xfrm>
          <a:off x="15273" y="3487148"/>
          <a:ext cx="952061" cy="76164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latin typeface="Segoe UI" panose="020B0502040204020203" pitchFamily="34" charset="0"/>
              <a:cs typeface="Segoe UI" panose="020B0502040204020203" pitchFamily="34" charset="0"/>
            </a:rPr>
            <a:t>Outlook</a:t>
          </a:r>
        </a:p>
      </dsp:txBody>
      <dsp:txXfrm>
        <a:off x="37581" y="3509456"/>
        <a:ext cx="907445" cy="717033"/>
      </dsp:txXfrm>
    </dsp:sp>
    <dsp:sp modelId="{38EC8AB3-0F31-F843-860A-40943B1E06D0}">
      <dsp:nvSpPr>
        <dsp:cNvPr id="0" name=""/>
        <dsp:cNvSpPr/>
      </dsp:nvSpPr>
      <dsp:spPr>
        <a:xfrm rot="12000000">
          <a:off x="638107" y="2841602"/>
          <a:ext cx="2509143" cy="387625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E7B8A2BD-44A0-0A46-BC3E-20A04344DC07}">
      <dsp:nvSpPr>
        <dsp:cNvPr id="0" name=""/>
        <dsp:cNvSpPr/>
      </dsp:nvSpPr>
      <dsp:spPr>
        <a:xfrm>
          <a:off x="237736" y="2225501"/>
          <a:ext cx="952061" cy="76164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>
              <a:latin typeface="Segoe UI" panose="020B0502040204020203" pitchFamily="34" charset="0"/>
              <a:cs typeface="Segoe UI" panose="020B0502040204020203" pitchFamily="34" charset="0"/>
            </a:rPr>
            <a:t>Teams</a:t>
          </a:r>
        </a:p>
      </dsp:txBody>
      <dsp:txXfrm>
        <a:off x="260044" y="2247809"/>
        <a:ext cx="907445" cy="717033"/>
      </dsp:txXfrm>
    </dsp:sp>
    <dsp:sp modelId="{7B798C36-CAB2-F144-8624-72E4B549AB7D}">
      <dsp:nvSpPr>
        <dsp:cNvPr id="0" name=""/>
        <dsp:cNvSpPr/>
      </dsp:nvSpPr>
      <dsp:spPr>
        <a:xfrm rot="13200000">
          <a:off x="1058522" y="2115743"/>
          <a:ext cx="2528685" cy="387625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B35A4BEA-7295-A745-B6C2-4B25BFEFAB6D}">
      <dsp:nvSpPr>
        <dsp:cNvPr id="0" name=""/>
        <dsp:cNvSpPr/>
      </dsp:nvSpPr>
      <dsp:spPr>
        <a:xfrm>
          <a:off x="674188" y="1177278"/>
          <a:ext cx="1360267" cy="63914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>
              <a:latin typeface="Segoe UI" panose="020B0502040204020203" pitchFamily="34" charset="0"/>
              <a:cs typeface="Segoe UI" panose="020B0502040204020203" pitchFamily="34" charset="0"/>
            </a:rPr>
            <a:t>SharePoint</a:t>
          </a:r>
        </a:p>
      </dsp:txBody>
      <dsp:txXfrm>
        <a:off x="692908" y="1195998"/>
        <a:ext cx="1322827" cy="601705"/>
      </dsp:txXfrm>
    </dsp:sp>
    <dsp:sp modelId="{17EC662E-C228-7F4D-875A-991EB5E42607}">
      <dsp:nvSpPr>
        <dsp:cNvPr id="0" name=""/>
        <dsp:cNvSpPr/>
      </dsp:nvSpPr>
      <dsp:spPr>
        <a:xfrm rot="14400000">
          <a:off x="1698323" y="1583541"/>
          <a:ext cx="2549542" cy="387625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501AEBB7-46A7-214F-B6D0-4D9A28A02408}">
      <dsp:nvSpPr>
        <dsp:cNvPr id="0" name=""/>
        <dsp:cNvSpPr/>
      </dsp:nvSpPr>
      <dsp:spPr>
        <a:xfrm>
          <a:off x="1859678" y="292545"/>
          <a:ext cx="952061" cy="76164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latin typeface="Segoe UI" panose="020B0502040204020203" pitchFamily="34" charset="0"/>
              <a:cs typeface="Segoe UI" panose="020B0502040204020203" pitchFamily="34" charset="0"/>
            </a:rPr>
            <a:t>Planner</a:t>
          </a:r>
        </a:p>
      </dsp:txBody>
      <dsp:txXfrm>
        <a:off x="1881986" y="314853"/>
        <a:ext cx="907445" cy="717033"/>
      </dsp:txXfrm>
    </dsp:sp>
    <dsp:sp modelId="{7BAFE66F-3846-B84A-BC96-D8CBFC3264FD}">
      <dsp:nvSpPr>
        <dsp:cNvPr id="0" name=""/>
        <dsp:cNvSpPr/>
      </dsp:nvSpPr>
      <dsp:spPr>
        <a:xfrm rot="15600000">
          <a:off x="2480819" y="1303148"/>
          <a:ext cx="2562443" cy="387625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E26368E-5457-DF40-9261-DE9104C942F3}">
      <dsp:nvSpPr>
        <dsp:cNvPr id="0" name=""/>
        <dsp:cNvSpPr/>
      </dsp:nvSpPr>
      <dsp:spPr>
        <a:xfrm>
          <a:off x="3063528" y="-145620"/>
          <a:ext cx="952061" cy="76164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>
              <a:latin typeface="Segoe UI" panose="020B0502040204020203" pitchFamily="34" charset="0"/>
              <a:cs typeface="Segoe UI" panose="020B0502040204020203" pitchFamily="34" charset="0"/>
            </a:rPr>
            <a:t>Stream</a:t>
          </a:r>
        </a:p>
      </dsp:txBody>
      <dsp:txXfrm>
        <a:off x="3085836" y="-123312"/>
        <a:ext cx="907445" cy="717033"/>
      </dsp:txXfrm>
    </dsp:sp>
    <dsp:sp modelId="{60D8EAAE-662A-A945-B15F-061B9B388073}">
      <dsp:nvSpPr>
        <dsp:cNvPr id="0" name=""/>
        <dsp:cNvSpPr/>
      </dsp:nvSpPr>
      <dsp:spPr>
        <a:xfrm rot="16800000">
          <a:off x="3316966" y="1303148"/>
          <a:ext cx="2562443" cy="387625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5011C617-C75A-E640-8FCE-1CBCF793E1EB}">
      <dsp:nvSpPr>
        <dsp:cNvPr id="0" name=""/>
        <dsp:cNvSpPr/>
      </dsp:nvSpPr>
      <dsp:spPr>
        <a:xfrm>
          <a:off x="4207746" y="-145620"/>
          <a:ext cx="1225846" cy="76164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>
              <a:latin typeface="Segoe UI" panose="020B0502040204020203" pitchFamily="34" charset="0"/>
              <a:cs typeface="Segoe UI" panose="020B0502040204020203" pitchFamily="34" charset="0"/>
            </a:rPr>
            <a:t>Yammer</a:t>
          </a:r>
        </a:p>
      </dsp:txBody>
      <dsp:txXfrm>
        <a:off x="4230054" y="-123312"/>
        <a:ext cx="1181230" cy="717033"/>
      </dsp:txXfrm>
    </dsp:sp>
    <dsp:sp modelId="{792B9EE2-8892-2949-9050-EA3047AE4770}">
      <dsp:nvSpPr>
        <dsp:cNvPr id="0" name=""/>
        <dsp:cNvSpPr/>
      </dsp:nvSpPr>
      <dsp:spPr>
        <a:xfrm rot="18000000">
          <a:off x="4112362" y="1583541"/>
          <a:ext cx="2549542" cy="387625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D83FD12-3662-5E41-B4C7-036E119DCC7D}">
      <dsp:nvSpPr>
        <dsp:cNvPr id="0" name=""/>
        <dsp:cNvSpPr/>
      </dsp:nvSpPr>
      <dsp:spPr>
        <a:xfrm>
          <a:off x="5548488" y="292545"/>
          <a:ext cx="952061" cy="76164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>
              <a:latin typeface="Segoe UI" panose="020B0502040204020203" pitchFamily="34" charset="0"/>
              <a:cs typeface="Segoe UI" panose="020B0502040204020203" pitchFamily="34" charset="0"/>
            </a:rPr>
            <a:t>Project</a:t>
          </a:r>
        </a:p>
      </dsp:txBody>
      <dsp:txXfrm>
        <a:off x="5570796" y="314853"/>
        <a:ext cx="907445" cy="717033"/>
      </dsp:txXfrm>
    </dsp:sp>
    <dsp:sp modelId="{E5D46A74-01FE-8E48-93BC-F1E7652E94A0}">
      <dsp:nvSpPr>
        <dsp:cNvPr id="0" name=""/>
        <dsp:cNvSpPr/>
      </dsp:nvSpPr>
      <dsp:spPr>
        <a:xfrm rot="19200000">
          <a:off x="4773021" y="2115743"/>
          <a:ext cx="2528685" cy="387625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C46C28ED-8CC1-6842-AE90-BFBE92688559}">
      <dsp:nvSpPr>
        <dsp:cNvPr id="0" name=""/>
        <dsp:cNvSpPr/>
      </dsp:nvSpPr>
      <dsp:spPr>
        <a:xfrm>
          <a:off x="6367144" y="1116027"/>
          <a:ext cx="1277524" cy="76164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>
              <a:latin typeface="Segoe UI" panose="020B0502040204020203" pitchFamily="34" charset="0"/>
              <a:cs typeface="Segoe UI" panose="020B0502040204020203" pitchFamily="34" charset="0"/>
            </a:rPr>
            <a:t>Kalender</a:t>
          </a:r>
        </a:p>
      </dsp:txBody>
      <dsp:txXfrm>
        <a:off x="6389452" y="1138335"/>
        <a:ext cx="1232908" cy="717033"/>
      </dsp:txXfrm>
    </dsp:sp>
    <dsp:sp modelId="{8E590A10-DDC6-3845-83FA-8B0BBFB9954E}">
      <dsp:nvSpPr>
        <dsp:cNvPr id="0" name=""/>
        <dsp:cNvSpPr/>
      </dsp:nvSpPr>
      <dsp:spPr>
        <a:xfrm rot="20400000">
          <a:off x="5212978" y="2841602"/>
          <a:ext cx="2509143" cy="387625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5417709-C394-B74C-84FD-C8A692427ABA}">
      <dsp:nvSpPr>
        <dsp:cNvPr id="0" name=""/>
        <dsp:cNvSpPr/>
      </dsp:nvSpPr>
      <dsp:spPr>
        <a:xfrm>
          <a:off x="7049733" y="2225501"/>
          <a:ext cx="1193457" cy="76164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>
              <a:latin typeface="Segoe UI" panose="020B0502040204020203" pitchFamily="34" charset="0"/>
              <a:cs typeface="Segoe UI" panose="020B0502040204020203" pitchFamily="34" charset="0"/>
            </a:rPr>
            <a:t>OneNote</a:t>
          </a:r>
        </a:p>
      </dsp:txBody>
      <dsp:txXfrm>
        <a:off x="7072041" y="2247809"/>
        <a:ext cx="1148841" cy="717033"/>
      </dsp:txXfrm>
    </dsp:sp>
    <dsp:sp modelId="{325BE13D-C7F4-4476-8455-B47B73BBC395}">
      <dsp:nvSpPr>
        <dsp:cNvPr id="0" name=""/>
        <dsp:cNvSpPr/>
      </dsp:nvSpPr>
      <dsp:spPr>
        <a:xfrm>
          <a:off x="5367834" y="3674160"/>
          <a:ext cx="2501089" cy="387625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5F47106E-E5F0-4105-82D5-9BC3E38C337C}">
      <dsp:nvSpPr>
        <dsp:cNvPr id="0" name=""/>
        <dsp:cNvSpPr/>
      </dsp:nvSpPr>
      <dsp:spPr>
        <a:xfrm>
          <a:off x="7392893" y="3487148"/>
          <a:ext cx="952061" cy="76164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>
              <a:latin typeface="Segoe UI" panose="020B0502040204020203" pitchFamily="34" charset="0"/>
              <a:cs typeface="Segoe UI" panose="020B0502040204020203" pitchFamily="34" charset="0"/>
            </a:rPr>
            <a:t>Power BI</a:t>
          </a:r>
        </a:p>
      </dsp:txBody>
      <dsp:txXfrm>
        <a:off x="7415201" y="3509456"/>
        <a:ext cx="907445" cy="71703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7C0457-4105-7E41-8990-657F71B8C270}">
      <dsp:nvSpPr>
        <dsp:cNvPr id="0" name=""/>
        <dsp:cNvSpPr/>
      </dsp:nvSpPr>
      <dsp:spPr>
        <a:xfrm>
          <a:off x="5950" y="0"/>
          <a:ext cx="2088162" cy="5036205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latin typeface="Segoe UI"/>
              <a:ea typeface="+mn-ea"/>
              <a:cs typeface="+mn-cs"/>
            </a:rPr>
            <a:t>Microsoft 365 Gruppen</a:t>
          </a:r>
        </a:p>
      </dsp:txBody>
      <dsp:txXfrm>
        <a:off x="50202" y="44252"/>
        <a:ext cx="1999658" cy="1422357"/>
      </dsp:txXfrm>
    </dsp:sp>
    <dsp:sp modelId="{4046C4FC-0B95-C640-B6D4-0A647C4122F4}">
      <dsp:nvSpPr>
        <dsp:cNvPr id="0" name=""/>
        <dsp:cNvSpPr/>
      </dsp:nvSpPr>
      <dsp:spPr>
        <a:xfrm>
          <a:off x="214766" y="1512625"/>
          <a:ext cx="1670529" cy="111728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t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0" kern="1200" dirty="0">
              <a:latin typeface="Segoe UI"/>
              <a:ea typeface="+mn-ea"/>
              <a:cs typeface="+mn-cs"/>
            </a:rPr>
            <a:t>Zusammenarbeit in geteilten Microsoft 365 Arbeitsbereichen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de-DE" sz="900" b="0" kern="1200">
              <a:latin typeface="Segoe UI"/>
              <a:ea typeface="+mn-ea"/>
              <a:cs typeface="+mn-cs"/>
            </a:rPr>
            <a:t>Microsoft Team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de-DE" sz="900" b="0" kern="1200">
              <a:latin typeface="Segoe UI"/>
              <a:ea typeface="+mn-ea"/>
              <a:cs typeface="+mn-cs"/>
            </a:rPr>
            <a:t>SharePoint Online</a:t>
          </a:r>
        </a:p>
      </dsp:txBody>
      <dsp:txXfrm>
        <a:off x="247490" y="1545349"/>
        <a:ext cx="1605081" cy="1051837"/>
      </dsp:txXfrm>
    </dsp:sp>
    <dsp:sp modelId="{5F85A6D5-AC56-47B9-AE74-C92AA41B1F5F}">
      <dsp:nvSpPr>
        <dsp:cNvPr id="0" name=""/>
        <dsp:cNvSpPr/>
      </dsp:nvSpPr>
      <dsp:spPr>
        <a:xfrm>
          <a:off x="214766" y="2801800"/>
          <a:ext cx="1670529" cy="111728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t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0" kern="1200">
              <a:latin typeface="Segoe UI"/>
              <a:ea typeface="+mn-ea"/>
              <a:cs typeface="+mn-cs"/>
            </a:rPr>
            <a:t>Zuweisung von Labeln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de-DE" sz="900" b="0" kern="1200" dirty="0">
              <a:latin typeface="Segoe UI"/>
              <a:ea typeface="+mn-ea"/>
              <a:cs typeface="+mn-cs"/>
            </a:rPr>
            <a:t>Aufbewahrung/Löschung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de-DE" sz="900" b="0" kern="1200" dirty="0">
              <a:latin typeface="Segoe UI"/>
              <a:ea typeface="+mn-ea"/>
              <a:cs typeface="+mn-cs"/>
            </a:rPr>
            <a:t>Information </a:t>
          </a:r>
          <a:r>
            <a:rPr lang="de-DE" sz="900" b="0" kern="1200" dirty="0" err="1">
              <a:latin typeface="Segoe UI"/>
              <a:ea typeface="+mn-ea"/>
              <a:cs typeface="+mn-cs"/>
            </a:rPr>
            <a:t>Protection</a:t>
          </a:r>
          <a:endParaRPr lang="de-DE" sz="900" b="0" kern="1200" dirty="0">
            <a:latin typeface="Segoe UI"/>
            <a:ea typeface="+mn-ea"/>
            <a:cs typeface="+mn-cs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de-DE" sz="900" b="0" kern="1200">
              <a:latin typeface="Segoe UI"/>
              <a:ea typeface="+mn-ea"/>
              <a:cs typeface="+mn-cs"/>
            </a:rPr>
            <a:t>Gastzugriffe</a:t>
          </a:r>
        </a:p>
      </dsp:txBody>
      <dsp:txXfrm>
        <a:off x="247490" y="2834524"/>
        <a:ext cx="1605081" cy="1051837"/>
      </dsp:txXfrm>
    </dsp:sp>
    <dsp:sp modelId="{458EDD88-C16A-47C6-8308-6026BD49CB49}">
      <dsp:nvSpPr>
        <dsp:cNvPr id="0" name=""/>
        <dsp:cNvSpPr/>
      </dsp:nvSpPr>
      <dsp:spPr>
        <a:xfrm>
          <a:off x="214766" y="4090975"/>
          <a:ext cx="1670529" cy="691655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t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0" kern="1200" dirty="0">
              <a:latin typeface="Segoe UI"/>
              <a:ea typeface="+mn-ea"/>
              <a:cs typeface="+mn-cs"/>
            </a:rPr>
            <a:t>Unterstützt </a:t>
          </a:r>
          <a:br>
            <a:rPr lang="de-DE" sz="900" b="0" kern="1200" dirty="0">
              <a:latin typeface="Segoe UI"/>
              <a:ea typeface="+mn-ea"/>
              <a:cs typeface="+mn-cs"/>
            </a:rPr>
          </a:br>
          <a:r>
            <a:rPr lang="de-DE" sz="900" b="0" kern="1200" dirty="0">
              <a:latin typeface="Segoe UI"/>
              <a:ea typeface="+mn-ea"/>
              <a:cs typeface="+mn-cs"/>
            </a:rPr>
            <a:t>Senden-Als/Senden im Auftrag von</a:t>
          </a:r>
        </a:p>
      </dsp:txBody>
      <dsp:txXfrm>
        <a:off x="235024" y="4111233"/>
        <a:ext cx="1630013" cy="651139"/>
      </dsp:txXfrm>
    </dsp:sp>
    <dsp:sp modelId="{588AF5E3-45D9-7746-B5C7-913B0EA68683}">
      <dsp:nvSpPr>
        <dsp:cNvPr id="0" name=""/>
        <dsp:cNvSpPr/>
      </dsp:nvSpPr>
      <dsp:spPr>
        <a:xfrm>
          <a:off x="2250725" y="0"/>
          <a:ext cx="2088162" cy="5036205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latin typeface="Segoe UI"/>
              <a:ea typeface="+mn-ea"/>
              <a:cs typeface="+mn-cs"/>
            </a:rPr>
            <a:t>Sicherheits-gruppen</a:t>
          </a:r>
        </a:p>
      </dsp:txBody>
      <dsp:txXfrm>
        <a:off x="2294977" y="44252"/>
        <a:ext cx="1999658" cy="1422357"/>
      </dsp:txXfrm>
    </dsp:sp>
    <dsp:sp modelId="{5A701B83-6950-2146-9658-FC4BC261929C}">
      <dsp:nvSpPr>
        <dsp:cNvPr id="0" name=""/>
        <dsp:cNvSpPr/>
      </dsp:nvSpPr>
      <dsp:spPr>
        <a:xfrm>
          <a:off x="2459541" y="1511533"/>
          <a:ext cx="1670529" cy="627442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t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0" kern="1200">
              <a:latin typeface="Segoe UI"/>
              <a:ea typeface="+mn-ea"/>
              <a:cs typeface="+mn-cs"/>
            </a:rPr>
            <a:t>Zugriffssteuerung für Ressourcen und Geräte</a:t>
          </a:r>
        </a:p>
      </dsp:txBody>
      <dsp:txXfrm>
        <a:off x="2477918" y="1529910"/>
        <a:ext cx="1633775" cy="590688"/>
      </dsp:txXfrm>
    </dsp:sp>
    <dsp:sp modelId="{17D2D860-5E02-4BE3-B8AC-6FF36333CD8A}">
      <dsp:nvSpPr>
        <dsp:cNvPr id="0" name=""/>
        <dsp:cNvSpPr/>
      </dsp:nvSpPr>
      <dsp:spPr>
        <a:xfrm>
          <a:off x="2459541" y="2491609"/>
          <a:ext cx="1670529" cy="2292112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t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0" kern="1200">
              <a:latin typeface="Segoe UI"/>
              <a:ea typeface="+mn-ea"/>
              <a:cs typeface="+mn-cs"/>
            </a:rPr>
            <a:t>Gruppenbasierte AAD- Funktionen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de-DE" sz="900" b="0" kern="1200">
              <a:latin typeface="Segoe UI"/>
              <a:ea typeface="+mn-ea"/>
              <a:cs typeface="+mn-cs"/>
            </a:rPr>
            <a:t>Lizenzzuweisung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de-DE" sz="900" b="0" kern="1200">
              <a:latin typeface="Segoe UI"/>
              <a:ea typeface="+mn-ea"/>
              <a:cs typeface="+mn-cs"/>
            </a:rPr>
            <a:t>AAD/Intune Richtlinien-zuweisung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de-DE" sz="900" b="0" kern="1200">
              <a:latin typeface="Segoe UI"/>
              <a:ea typeface="+mn-ea"/>
              <a:cs typeface="+mn-cs"/>
            </a:rPr>
            <a:t>Conditional Access</a:t>
          </a:r>
        </a:p>
      </dsp:txBody>
      <dsp:txXfrm>
        <a:off x="2508469" y="2540537"/>
        <a:ext cx="1572673" cy="2194256"/>
      </dsp:txXfrm>
    </dsp:sp>
    <dsp:sp modelId="{C205FEF3-C259-4E89-BF06-F316177B200B}">
      <dsp:nvSpPr>
        <dsp:cNvPr id="0" name=""/>
        <dsp:cNvSpPr/>
      </dsp:nvSpPr>
      <dsp:spPr>
        <a:xfrm>
          <a:off x="4495499" y="0"/>
          <a:ext cx="2088162" cy="5036205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latin typeface="Segoe UI"/>
              <a:ea typeface="+mn-ea"/>
              <a:cs typeface="+mn-cs"/>
            </a:rPr>
            <a:t>E-Mail-aktivierte Sicherheits-Gruppen</a:t>
          </a:r>
        </a:p>
      </dsp:txBody>
      <dsp:txXfrm>
        <a:off x="4495499" y="0"/>
        <a:ext cx="2088162" cy="1510861"/>
      </dsp:txXfrm>
    </dsp:sp>
    <dsp:sp modelId="{20EDDE44-A06E-4931-A819-03E73611E52B}">
      <dsp:nvSpPr>
        <dsp:cNvPr id="0" name=""/>
        <dsp:cNvSpPr/>
      </dsp:nvSpPr>
      <dsp:spPr>
        <a:xfrm>
          <a:off x="4704316" y="1511742"/>
          <a:ext cx="1670529" cy="2295309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t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0" kern="1200">
              <a:latin typeface="Segoe UI"/>
              <a:ea typeface="+mn-ea"/>
              <a:cs typeface="+mn-cs"/>
            </a:rPr>
            <a:t>Kombination aus einer Sicherheits- und Verteilergruppen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de-DE" sz="900" b="0" kern="1200">
              <a:latin typeface="Segoe UI"/>
              <a:ea typeface="+mn-ea"/>
              <a:cs typeface="+mn-cs"/>
            </a:rPr>
            <a:t>Vereinfachung einer gruppenbasierten Kontrolle, wenn der Personenkreis für die Zugriffskontrolle und dem Empfang von E-Mail-Nachrichten identisch ist</a:t>
          </a:r>
        </a:p>
      </dsp:txBody>
      <dsp:txXfrm>
        <a:off x="4753244" y="1560670"/>
        <a:ext cx="1572673" cy="2197453"/>
      </dsp:txXfrm>
    </dsp:sp>
    <dsp:sp modelId="{76954BBF-B09E-458E-A42A-20FE2A992636}">
      <dsp:nvSpPr>
        <dsp:cNvPr id="0" name=""/>
        <dsp:cNvSpPr/>
      </dsp:nvSpPr>
      <dsp:spPr>
        <a:xfrm>
          <a:off x="4704316" y="4136361"/>
          <a:ext cx="1670529" cy="62333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t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0" kern="1200" dirty="0">
              <a:latin typeface="Segoe UI"/>
              <a:ea typeface="+mn-ea"/>
              <a:cs typeface="+mn-cs"/>
            </a:rPr>
            <a:t>Unterstützt </a:t>
          </a:r>
          <a:br>
            <a:rPr lang="de-DE" sz="900" b="0" kern="1200" dirty="0">
              <a:latin typeface="Segoe UI"/>
              <a:ea typeface="+mn-ea"/>
              <a:cs typeface="+mn-cs"/>
            </a:rPr>
          </a:br>
          <a:r>
            <a:rPr lang="de-DE" sz="900" b="0" kern="1200" dirty="0">
              <a:latin typeface="Segoe UI"/>
              <a:ea typeface="+mn-ea"/>
              <a:cs typeface="+mn-cs"/>
            </a:rPr>
            <a:t>Senden-Als/Senden im Auftrag von</a:t>
          </a:r>
        </a:p>
      </dsp:txBody>
      <dsp:txXfrm>
        <a:off x="4722573" y="4154618"/>
        <a:ext cx="1634015" cy="586823"/>
      </dsp:txXfrm>
    </dsp:sp>
    <dsp:sp modelId="{7F7C0B6D-67FB-6E4F-BD32-0B13CA04E13D}">
      <dsp:nvSpPr>
        <dsp:cNvPr id="0" name=""/>
        <dsp:cNvSpPr/>
      </dsp:nvSpPr>
      <dsp:spPr>
        <a:xfrm>
          <a:off x="6740274" y="0"/>
          <a:ext cx="2088162" cy="5036205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latin typeface="Segoe UI"/>
              <a:ea typeface="+mn-ea"/>
              <a:cs typeface="+mn-cs"/>
            </a:rPr>
            <a:t>Verteilergruppen</a:t>
          </a:r>
        </a:p>
      </dsp:txBody>
      <dsp:txXfrm>
        <a:off x="6784526" y="44252"/>
        <a:ext cx="1999658" cy="1422357"/>
      </dsp:txXfrm>
    </dsp:sp>
    <dsp:sp modelId="{BFF3DA0C-DFE2-AF40-9856-A5CFDBB976C7}">
      <dsp:nvSpPr>
        <dsp:cNvPr id="0" name=""/>
        <dsp:cNvSpPr/>
      </dsp:nvSpPr>
      <dsp:spPr>
        <a:xfrm>
          <a:off x="6949090" y="1512705"/>
          <a:ext cx="1670529" cy="2298506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t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0" kern="1200">
              <a:latin typeface="Segoe UI"/>
              <a:ea typeface="+mn-ea"/>
              <a:cs typeface="+mn-cs"/>
            </a:rPr>
            <a:t>E-Mail-Versand an eine Gruppen von Personen 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de-DE" sz="900" b="0" kern="1200">
            <a:latin typeface="Segoe UI"/>
            <a:ea typeface="+mn-ea"/>
            <a:cs typeface="+mn-cs"/>
          </a:endParaRPr>
        </a:p>
      </dsp:txBody>
      <dsp:txXfrm>
        <a:off x="6998018" y="1561633"/>
        <a:ext cx="1572673" cy="2200650"/>
      </dsp:txXfrm>
    </dsp:sp>
    <dsp:sp modelId="{B0E7F83C-6AD1-4AA7-9E7E-A5A75DCA7BAF}">
      <dsp:nvSpPr>
        <dsp:cNvPr id="0" name=""/>
        <dsp:cNvSpPr/>
      </dsp:nvSpPr>
      <dsp:spPr>
        <a:xfrm>
          <a:off x="6949090" y="4164827"/>
          <a:ext cx="1670529" cy="61772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t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0" kern="1200">
              <a:latin typeface="Segoe UI"/>
              <a:ea typeface="+mn-ea"/>
              <a:cs typeface="+mn-cs"/>
            </a:rPr>
            <a:t>Unterstützt </a:t>
          </a:r>
          <a:br>
            <a:rPr lang="de-DE" sz="900" b="0" kern="1200">
              <a:latin typeface="Segoe UI"/>
              <a:ea typeface="+mn-ea"/>
              <a:cs typeface="+mn-cs"/>
            </a:rPr>
          </a:br>
          <a:r>
            <a:rPr lang="de-DE" sz="900" b="0" kern="1200">
              <a:latin typeface="Segoe UI"/>
              <a:ea typeface="+mn-ea"/>
              <a:cs typeface="+mn-cs"/>
            </a:rPr>
            <a:t>Senden-Als/Senden im Auftrag von</a:t>
          </a:r>
        </a:p>
      </dsp:txBody>
      <dsp:txXfrm>
        <a:off x="6967182" y="4182919"/>
        <a:ext cx="1634345" cy="581539"/>
      </dsp:txXfrm>
    </dsp:sp>
    <dsp:sp modelId="{428AE84D-D978-461D-A4F4-ACDC17F06DFD}">
      <dsp:nvSpPr>
        <dsp:cNvPr id="0" name=""/>
        <dsp:cNvSpPr/>
      </dsp:nvSpPr>
      <dsp:spPr>
        <a:xfrm>
          <a:off x="8985048" y="0"/>
          <a:ext cx="2088162" cy="5036205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latin typeface="Segoe UI"/>
              <a:ea typeface="+mn-ea"/>
              <a:cs typeface="+mn-cs"/>
            </a:rPr>
            <a:t>Freigegebene Postfächer</a:t>
          </a:r>
        </a:p>
      </dsp:txBody>
      <dsp:txXfrm>
        <a:off x="8985048" y="0"/>
        <a:ext cx="2088162" cy="1510861"/>
      </dsp:txXfrm>
    </dsp:sp>
    <dsp:sp modelId="{C39F1A3D-298C-456F-A63D-E86B8BB1D3E1}">
      <dsp:nvSpPr>
        <dsp:cNvPr id="0" name=""/>
        <dsp:cNvSpPr/>
      </dsp:nvSpPr>
      <dsp:spPr>
        <a:xfrm>
          <a:off x="9193865" y="1512259"/>
          <a:ext cx="1670529" cy="1130072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t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0" kern="1200">
              <a:latin typeface="Segoe UI"/>
              <a:ea typeface="+mn-ea"/>
              <a:cs typeface="+mn-cs"/>
            </a:rPr>
            <a:t>Freigegebene Postfächer sind ein zusätzliches Werkzeug für eine kontextbezogene und E-Mail-basierte   Zusammenarbeit</a:t>
          </a:r>
        </a:p>
      </dsp:txBody>
      <dsp:txXfrm>
        <a:off x="9226964" y="1545358"/>
        <a:ext cx="1604331" cy="1063874"/>
      </dsp:txXfrm>
    </dsp:sp>
    <dsp:sp modelId="{122948D0-11A2-4EAF-BE9A-0A9B67061432}">
      <dsp:nvSpPr>
        <dsp:cNvPr id="0" name=""/>
        <dsp:cNvSpPr/>
      </dsp:nvSpPr>
      <dsp:spPr>
        <a:xfrm>
          <a:off x="9193865" y="2816189"/>
          <a:ext cx="1670529" cy="1130072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t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0" kern="1200">
              <a:latin typeface="Segoe UI"/>
              <a:ea typeface="+mn-ea"/>
              <a:cs typeface="+mn-cs"/>
            </a:rPr>
            <a:t>Es ist keine Gruppe im eigentliche Sinn</a:t>
          </a:r>
        </a:p>
      </dsp:txBody>
      <dsp:txXfrm>
        <a:off x="9226964" y="2849288"/>
        <a:ext cx="1604331" cy="1063874"/>
      </dsp:txXfrm>
    </dsp:sp>
    <dsp:sp modelId="{171AE3A5-1DFC-43CD-A81F-1448D93A85FD}">
      <dsp:nvSpPr>
        <dsp:cNvPr id="0" name=""/>
        <dsp:cNvSpPr/>
      </dsp:nvSpPr>
      <dsp:spPr>
        <a:xfrm>
          <a:off x="9193865" y="4120118"/>
          <a:ext cx="1670529" cy="66287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t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0" kern="1200">
              <a:latin typeface="Segoe UI"/>
              <a:ea typeface="+mn-ea"/>
              <a:cs typeface="+mn-cs"/>
            </a:rPr>
            <a:t>Unterstützt </a:t>
          </a:r>
          <a:br>
            <a:rPr lang="de-DE" sz="900" b="0" kern="1200">
              <a:latin typeface="Segoe UI"/>
              <a:ea typeface="+mn-ea"/>
              <a:cs typeface="+mn-cs"/>
            </a:rPr>
          </a:br>
          <a:r>
            <a:rPr lang="de-DE" sz="900" b="0" kern="1200">
              <a:latin typeface="Segoe UI"/>
              <a:ea typeface="+mn-ea"/>
              <a:cs typeface="+mn-cs"/>
            </a:rPr>
            <a:t>Senden-Als/Senden im Auftrag von</a:t>
          </a:r>
        </a:p>
      </dsp:txBody>
      <dsp:txXfrm>
        <a:off x="9213280" y="4139533"/>
        <a:ext cx="1631699" cy="62404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FAD103-150E-4888-9C6B-5A4A1F4BA25B}">
      <dsp:nvSpPr>
        <dsp:cNvPr id="0" name=""/>
        <dsp:cNvSpPr/>
      </dsp:nvSpPr>
      <dsp:spPr>
        <a:xfrm>
          <a:off x="0" y="-9"/>
          <a:ext cx="6562836" cy="482393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6500" kern="1200"/>
        </a:p>
      </dsp:txBody>
      <dsp:txXfrm>
        <a:off x="875044" y="844179"/>
        <a:ext cx="4812747" cy="2170771"/>
      </dsp:txXfrm>
    </dsp:sp>
    <dsp:sp modelId="{35D7F142-74A1-472A-8233-5F517200545F}">
      <dsp:nvSpPr>
        <dsp:cNvPr id="0" name=""/>
        <dsp:cNvSpPr/>
      </dsp:nvSpPr>
      <dsp:spPr>
        <a:xfrm>
          <a:off x="2349937" y="0"/>
          <a:ext cx="7448625" cy="4823936"/>
        </a:xfrm>
        <a:prstGeom prst="ellipse">
          <a:avLst/>
        </a:prstGeom>
        <a:solidFill>
          <a:schemeClr val="accent6">
            <a:lumMod val="60000"/>
            <a:lumOff val="40000"/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6500" kern="1200"/>
        </a:p>
      </dsp:txBody>
      <dsp:txXfrm>
        <a:off x="4627975" y="1246183"/>
        <a:ext cx="4469175" cy="2653165"/>
      </dsp:txXfrm>
    </dsp:sp>
    <dsp:sp modelId="{8BF14D8B-AEA4-4203-AAF1-9840AF704AE2}">
      <dsp:nvSpPr>
        <dsp:cNvPr id="0" name=""/>
        <dsp:cNvSpPr/>
      </dsp:nvSpPr>
      <dsp:spPr>
        <a:xfrm>
          <a:off x="3098919" y="1150458"/>
          <a:ext cx="2858205" cy="2874211"/>
        </a:xfrm>
        <a:prstGeom prst="ellipse">
          <a:avLst/>
        </a:prstGeom>
        <a:solidFill>
          <a:schemeClr val="accent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6500" kern="1200"/>
        </a:p>
      </dsp:txBody>
      <dsp:txXfrm>
        <a:off x="3368067" y="1892962"/>
        <a:ext cx="1714923" cy="15808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8BFA987-36EB-47DC-93AF-445F608C886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09F0D1-AF0D-4788-B5A2-CA4C056D98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C9D99E-589F-48F7-8609-613482AD1130}" type="datetimeFigureOut">
              <a:rPr lang="de-DE" smtClean="0"/>
              <a:t>11.05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E3CD118-5386-4BA1-AD1B-A36128904F3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87848F3-F623-45DC-BEF5-8DA1847835D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93104C-8377-49A4-8F12-3F6B585EEB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68164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1C804A-59F2-4AF2-B5B4-D22E5403B206}" type="datetimeFigureOut">
              <a:rPr lang="de-DE" smtClean="0"/>
              <a:t>11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032153-21C8-4F20-82E9-50F2315B30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27207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ndrewJolly/M365Concepts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ndrewJolly/M365Concepts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ndrewJolly/M365Concepts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1270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20312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40028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39443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GitHub - </a:t>
            </a:r>
            <a:r>
              <a:rPr lang="en-US" dirty="0" err="1">
                <a:hlinkClick r:id="rId3"/>
              </a:rPr>
              <a:t>AndrewJolly</a:t>
            </a:r>
            <a:r>
              <a:rPr lang="en-US" dirty="0">
                <a:hlinkClick r:id="rId3"/>
              </a:rPr>
              <a:t>/M365Concepts: Diagrams and resources that help explain concepts within Microsoft 365</a:t>
            </a:r>
            <a:endParaRPr lang="en-US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35697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GitHub - </a:t>
            </a:r>
            <a:r>
              <a:rPr lang="en-US" dirty="0" err="1">
                <a:hlinkClick r:id="rId3"/>
              </a:rPr>
              <a:t>AndrewJolly</a:t>
            </a:r>
            <a:r>
              <a:rPr lang="en-US" dirty="0">
                <a:hlinkClick r:id="rId3"/>
              </a:rPr>
              <a:t>/M365Concepts: Diagrams and resources that help explain concepts within Microsoft 365</a:t>
            </a:r>
            <a:endParaRPr lang="en-US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75951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GitHub - </a:t>
            </a:r>
            <a:r>
              <a:rPr lang="en-US" dirty="0" err="1">
                <a:hlinkClick r:id="rId3"/>
              </a:rPr>
              <a:t>AndrewJolly</a:t>
            </a:r>
            <a:r>
              <a:rPr lang="en-US" dirty="0">
                <a:hlinkClick r:id="rId3"/>
              </a:rPr>
              <a:t>/M365Concepts: Diagrams and resources that help explain concepts within Microsoft 365</a:t>
            </a:r>
            <a:endParaRPr lang="en-US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1357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06931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879606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344010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24946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486616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872097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489459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522764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182007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361073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738089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481601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80088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39643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67871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586205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991287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806730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805848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081948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78865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19660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862342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357200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324044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92282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512768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022097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071291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823176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88927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098128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019582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4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429068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Get-</a:t>
            </a:r>
            <a:r>
              <a:rPr lang="en-US" dirty="0" err="1"/>
              <a:t>ADSyncRule</a:t>
            </a:r>
            <a:r>
              <a:rPr lang="en-US" dirty="0"/>
              <a:t> | ?{($_.Direction -eq 'Inbound') -and ($_.Name -</a:t>
            </a:r>
            <a:r>
              <a:rPr lang="en-US" dirty="0" err="1"/>
              <a:t>ilike</a:t>
            </a:r>
            <a:r>
              <a:rPr lang="en-US" dirty="0"/>
              <a:t> '*</a:t>
            </a:r>
            <a:r>
              <a:rPr lang="en-US" dirty="0" err="1"/>
              <a:t>soa</a:t>
            </a:r>
            <a:r>
              <a:rPr lang="en-US" dirty="0"/>
              <a:t>*')}).</a:t>
            </a:r>
            <a:r>
              <a:rPr lang="en-US" dirty="0" err="1"/>
              <a:t>AttributeFlowMapping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5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560263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5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53471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1723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Quelle: Microsof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60059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87748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60482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32153-21C8-4F20-82E9-50F2315B302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44062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5735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6000" b="0" i="0" baseline="0">
              <a:latin typeface="Calibri Light"/>
              <a:ea typeface="+mj-ea"/>
              <a:cs typeface="+mj-cs"/>
              <a:sym typeface="Calibri Light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81F8895-D0F7-4AC5-AAB4-1E05446A57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5312D53-FBE8-420F-BAB0-9764F1E56E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B67F88B8-9E38-4C82-B3E3-82BC2A412D1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9853" y="4622103"/>
            <a:ext cx="1412146" cy="2235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2381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CB9185-E44B-479E-9280-F18D89457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C7BFC74-3BF6-4ACD-AB66-D3A493FE5B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012724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8985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6000" b="0" i="0" baseline="0">
              <a:latin typeface="Calibri Light"/>
              <a:ea typeface="+mj-ea"/>
              <a:cs typeface="+mj-cs"/>
              <a:sym typeface="Calibri Light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92002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4152901" y="0"/>
            <a:ext cx="80391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448827D-B146-485C-993E-58C62DE56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1677" y="1709738"/>
            <a:ext cx="6700478" cy="2852737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DF33C3-4B47-4268-9165-C215D4B132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71677" y="4589463"/>
            <a:ext cx="6700478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954330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078657-D5B9-45EF-98F3-1B6B5B43A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06" y="0"/>
            <a:ext cx="11372370" cy="1343818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01984A9-AB75-4052-9B57-7F39BFD267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0306" y="1825625"/>
            <a:ext cx="5589494" cy="43513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19EA064-5ED5-413F-9DB6-A071F63CDF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630476" cy="435133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638413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B15B7F-458A-43E9-9512-06B2864B1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-1"/>
            <a:ext cx="11372400" cy="13428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FDC2F6-2C80-4381-A71D-E620B64EB2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4C1A3A2-6176-4862-8B07-B8EE219F93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0A9D3F3-C64D-4CE1-9BE5-5649B7D7B63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E487E2E-0162-4CC1-8CA9-45679B2A82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595356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341899-E99D-4571-98BD-4CB63A530A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32092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87605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5DB7C2E-86C9-41B8-9035-77B6B1E05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06" y="1"/>
            <a:ext cx="11372370" cy="13438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F9D0695-0ED9-458F-A74E-31CE256901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0306" y="1825625"/>
            <a:ext cx="1137237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7768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5">
            <a:lumMod val="75000"/>
          </a:schemeClr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>
            <a:lumMod val="75000"/>
          </a:schemeClr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>
            <a:lumMod val="7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>
            <a:lumMod val="7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>
            <a:lumMod val="75000"/>
          </a:schemeClr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3" Type="http://schemas.openxmlformats.org/officeDocument/2006/relationships/image" Target="../media/image17.png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19.sv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1.png"/><Relationship Id="rId5" Type="http://schemas.openxmlformats.org/officeDocument/2006/relationships/image" Target="../media/image30.svg"/><Relationship Id="rId4" Type="http://schemas.openxmlformats.org/officeDocument/2006/relationships/image" Target="../media/image29.png"/><Relationship Id="rId9" Type="http://schemas.openxmlformats.org/officeDocument/2006/relationships/image" Target="../media/image34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emf"/><Relationship Id="rId13" Type="http://schemas.openxmlformats.org/officeDocument/2006/relationships/image" Target="../media/image54.emf"/><Relationship Id="rId3" Type="http://schemas.openxmlformats.org/officeDocument/2006/relationships/image" Target="../media/image44.emf"/><Relationship Id="rId7" Type="http://schemas.openxmlformats.org/officeDocument/2006/relationships/image" Target="../media/image48.emf"/><Relationship Id="rId12" Type="http://schemas.openxmlformats.org/officeDocument/2006/relationships/image" Target="../media/image53.emf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emf"/><Relationship Id="rId11" Type="http://schemas.openxmlformats.org/officeDocument/2006/relationships/image" Target="../media/image52.emf"/><Relationship Id="rId5" Type="http://schemas.openxmlformats.org/officeDocument/2006/relationships/image" Target="../media/image46.emf"/><Relationship Id="rId10" Type="http://schemas.openxmlformats.org/officeDocument/2006/relationships/image" Target="../media/image51.emf"/><Relationship Id="rId4" Type="http://schemas.openxmlformats.org/officeDocument/2006/relationships/image" Target="../media/image45.emf"/><Relationship Id="rId9" Type="http://schemas.openxmlformats.org/officeDocument/2006/relationships/image" Target="../media/image50.emf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emf"/><Relationship Id="rId13" Type="http://schemas.openxmlformats.org/officeDocument/2006/relationships/image" Target="../media/image54.emf"/><Relationship Id="rId3" Type="http://schemas.openxmlformats.org/officeDocument/2006/relationships/image" Target="../media/image44.emf"/><Relationship Id="rId7" Type="http://schemas.openxmlformats.org/officeDocument/2006/relationships/image" Target="../media/image48.emf"/><Relationship Id="rId12" Type="http://schemas.openxmlformats.org/officeDocument/2006/relationships/image" Target="../media/image53.emf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emf"/><Relationship Id="rId11" Type="http://schemas.openxmlformats.org/officeDocument/2006/relationships/image" Target="../media/image52.emf"/><Relationship Id="rId5" Type="http://schemas.openxmlformats.org/officeDocument/2006/relationships/image" Target="../media/image46.emf"/><Relationship Id="rId15" Type="http://schemas.openxmlformats.org/officeDocument/2006/relationships/image" Target="../media/image56.png"/><Relationship Id="rId10" Type="http://schemas.openxmlformats.org/officeDocument/2006/relationships/image" Target="../media/image51.emf"/><Relationship Id="rId4" Type="http://schemas.openxmlformats.org/officeDocument/2006/relationships/image" Target="../media/image45.emf"/><Relationship Id="rId9" Type="http://schemas.openxmlformats.org/officeDocument/2006/relationships/image" Target="../media/image50.emf"/><Relationship Id="rId14" Type="http://schemas.openxmlformats.org/officeDocument/2006/relationships/image" Target="../media/image55.emf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58.emf"/><Relationship Id="rId7" Type="http://schemas.openxmlformats.org/officeDocument/2006/relationships/image" Target="../media/image62.png"/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emf"/><Relationship Id="rId5" Type="http://schemas.openxmlformats.org/officeDocument/2006/relationships/image" Target="../media/image60.emf"/><Relationship Id="rId4" Type="http://schemas.openxmlformats.org/officeDocument/2006/relationships/image" Target="../media/image59.emf"/><Relationship Id="rId9" Type="http://schemas.openxmlformats.org/officeDocument/2006/relationships/image" Target="../media/image64.emf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emf"/><Relationship Id="rId3" Type="http://schemas.openxmlformats.org/officeDocument/2006/relationships/image" Target="../media/image59.emf"/><Relationship Id="rId7" Type="http://schemas.openxmlformats.org/officeDocument/2006/relationships/image" Target="../media/image66.svg"/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5.png"/><Relationship Id="rId5" Type="http://schemas.openxmlformats.org/officeDocument/2006/relationships/image" Target="../media/image61.emf"/><Relationship Id="rId10" Type="http://schemas.openxmlformats.org/officeDocument/2006/relationships/image" Target="../media/image64.emf"/><Relationship Id="rId4" Type="http://schemas.openxmlformats.org/officeDocument/2006/relationships/image" Target="../media/image60.emf"/><Relationship Id="rId9" Type="http://schemas.openxmlformats.org/officeDocument/2006/relationships/image" Target="../media/image67.emf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3" Type="http://schemas.openxmlformats.org/officeDocument/2006/relationships/image" Target="../media/image67.emf"/><Relationship Id="rId7" Type="http://schemas.openxmlformats.org/officeDocument/2006/relationships/image" Target="../media/image65.png"/><Relationship Id="rId2" Type="http://schemas.openxmlformats.org/officeDocument/2006/relationships/image" Target="../media/image58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57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sv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hyperlink" Target="http://techtalk.granikos.eu/" TargetMode="External"/><Relationship Id="rId13" Type="http://schemas.openxmlformats.org/officeDocument/2006/relationships/hyperlink" Target="https://m365businessbuch.de/" TargetMode="External"/><Relationship Id="rId3" Type="http://schemas.openxmlformats.org/officeDocument/2006/relationships/hyperlink" Target="NULL" TargetMode="External"/><Relationship Id="rId7" Type="http://schemas.openxmlformats.org/officeDocument/2006/relationships/hyperlink" Target="https://blogs.msmvps.com/thomastechtalk" TargetMode="External"/><Relationship Id="rId12" Type="http://schemas.openxmlformats.org/officeDocument/2006/relationships/image" Target="../media/image73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blog.granikos.eu/" TargetMode="External"/><Relationship Id="rId11" Type="http://schemas.openxmlformats.org/officeDocument/2006/relationships/hyperlink" Target="https://link.heropost.io/ExchangeHandbuch" TargetMode="External"/><Relationship Id="rId5" Type="http://schemas.openxmlformats.org/officeDocument/2006/relationships/hyperlink" Target="https://linkedin.com/in/thomasstensitzki" TargetMode="External"/><Relationship Id="rId15" Type="http://schemas.openxmlformats.org/officeDocument/2006/relationships/image" Target="../media/image5.png"/><Relationship Id="rId10" Type="http://schemas.openxmlformats.org/officeDocument/2006/relationships/image" Target="../media/image4.png"/><Relationship Id="rId4" Type="http://schemas.openxmlformats.org/officeDocument/2006/relationships/hyperlink" Target="https://twitter.com/stensitzki" TargetMode="External"/><Relationship Id="rId9" Type="http://schemas.openxmlformats.org/officeDocument/2006/relationships/image" Target="../media/image72.png"/><Relationship Id="rId14" Type="http://schemas.openxmlformats.org/officeDocument/2006/relationships/image" Target="../media/image74.jp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hyperlink" Target="https://learn.microsoft.com/microsoft-365/admin/create-groups/restore-deleted-group?view=o365-worldwide&amp;WT.mc_id=TM-MVP-5003086" TargetMode="External"/><Relationship Id="rId3" Type="http://schemas.openxmlformats.org/officeDocument/2006/relationships/hyperlink" Target="https://docs.microsoft.com/microsoft-365/solutions/choose-domain-to-create-groups?view=o365-worldwide&amp;WT.mc_id=M365-MVP-5003086" TargetMode="External"/><Relationship Id="rId7" Type="http://schemas.openxmlformats.org/officeDocument/2006/relationships/hyperlink" Target="https://learn.microsoft.com/microsoftteams/archive-or-delete-a-team?WT.mc_id=TM-MVP-5003086" TargetMode="External"/><Relationship Id="rId2" Type="http://schemas.openxmlformats.org/officeDocument/2006/relationships/hyperlink" Target="https://docs.microsoft.com/microsoft-365/solutions/manage-creation-of-groups?view=o365-worldwide&amp;WT.mc_id=M365-MVP-5003086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learn.microsoft.com/microsoft-365/solutions/productivity-illustrations?view=o365-worldwide&amp;WT.mc_id=TM-MVP-5003086" TargetMode="External"/><Relationship Id="rId5" Type="http://schemas.openxmlformats.org/officeDocument/2006/relationships/hyperlink" Target="https://docs.microsoft.com/microsoft-365/solutions/plan-organization-lifecycle-governance?view=o365-worldwide&amp;WT.mc_id=TM-MVP-5003086" TargetMode="External"/><Relationship Id="rId4" Type="http://schemas.openxmlformats.org/officeDocument/2006/relationships/hyperlink" Target="https://docs.microsoft.com/exchange/hybrid-deployment/set-up-microsoft-365-groups?WT.mc_id=M365-MVP-5003086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jumpto365.com/blog/everyday-guide-to-office-365-groups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37B2CB-D047-404D-B8CC-C662AA78F6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36574" y="1122363"/>
            <a:ext cx="9144000" cy="2387600"/>
          </a:xfrm>
        </p:spPr>
        <p:txBody>
          <a:bodyPr>
            <a:normAutofit/>
          </a:bodyPr>
          <a:lstStyle/>
          <a:p>
            <a:r>
              <a:rPr lang="de-DE" dirty="0"/>
              <a:t>Microsoft 365 Gruppen</a:t>
            </a:r>
            <a:br>
              <a:rPr lang="de-DE" dirty="0"/>
            </a:br>
            <a:r>
              <a:rPr lang="de-DE" dirty="0"/>
              <a:t>Ein Überblick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D1EE5AE-531F-46B2-BC77-BEC77D90CE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990658"/>
            <a:ext cx="9144000" cy="1655762"/>
          </a:xfrm>
        </p:spPr>
        <p:txBody>
          <a:bodyPr>
            <a:noAutofit/>
          </a:bodyPr>
          <a:lstStyle/>
          <a:p>
            <a:r>
              <a:rPr lang="de-DE" sz="4000" b="1" dirty="0"/>
              <a:t>Exchange User Group</a:t>
            </a:r>
            <a:br>
              <a:rPr lang="de-DE" sz="4000" b="1" dirty="0"/>
            </a:br>
            <a:r>
              <a:rPr lang="de-DE" sz="4000" b="1" dirty="0"/>
              <a:t>Meetup 2023 Q2</a:t>
            </a:r>
            <a:br>
              <a:rPr lang="de-DE" sz="4000" dirty="0"/>
            </a:br>
            <a:br>
              <a:rPr lang="de-DE" sz="4000" dirty="0"/>
            </a:br>
            <a:endParaRPr lang="de-DE" sz="4000" dirty="0"/>
          </a:p>
        </p:txBody>
      </p:sp>
      <p:pic>
        <p:nvPicPr>
          <p:cNvPr id="5" name="Grafik 4" descr="Ein Bild, das Spielzeug, Kuchen, Tasse, Kunststoff enthält.&#10;&#10;Automatisch generierte Beschreibung">
            <a:extLst>
              <a:ext uri="{FF2B5EF4-FFF2-40B4-BE49-F238E27FC236}">
                <a16:creationId xmlns:a16="http://schemas.microsoft.com/office/drawing/2014/main" id="{DF037288-138B-41CD-87A9-88F0DBA8AC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861" y="4514847"/>
            <a:ext cx="1206325" cy="2002634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9406939-7FCC-1F66-710D-1A39ED6761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8" r="1558"/>
          <a:stretch/>
        </p:blipFill>
        <p:spPr>
          <a:xfrm>
            <a:off x="8322906" y="4683586"/>
            <a:ext cx="1925668" cy="1925668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1331178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9D1177DD-1595-5C77-A720-F88752F4B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ams – Private Kanä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34324F4-EF54-BB74-5F83-7CFDC3B52DA1}"/>
              </a:ext>
            </a:extLst>
          </p:cNvPr>
          <p:cNvSpPr/>
          <p:nvPr/>
        </p:nvSpPr>
        <p:spPr>
          <a:xfrm>
            <a:off x="508943" y="1403648"/>
            <a:ext cx="3568555" cy="77084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Microsoft 365 Grupp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705107B-7F28-A541-D650-D00D5546E37E}"/>
              </a:ext>
            </a:extLst>
          </p:cNvPr>
          <p:cNvSpPr/>
          <p:nvPr/>
        </p:nvSpPr>
        <p:spPr>
          <a:xfrm>
            <a:off x="508943" y="2234318"/>
            <a:ext cx="3568554" cy="49298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Exchange Online Mailbox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1DEDC14-706C-4A1C-7D18-F960A9D2C664}"/>
              </a:ext>
            </a:extLst>
          </p:cNvPr>
          <p:cNvSpPr/>
          <p:nvPr/>
        </p:nvSpPr>
        <p:spPr>
          <a:xfrm>
            <a:off x="508943" y="2787128"/>
            <a:ext cx="3568554" cy="13435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SharePoint Online Team Site</a:t>
            </a:r>
          </a:p>
          <a:p>
            <a:pPr algn="ctr"/>
            <a:endParaRPr lang="de-DE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  <a:t>Team Site mit Dokumentenbibliothek und anderen Ressourcen für alle Standardkanäle</a:t>
            </a:r>
            <a:b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  <a:t>Vorlage </a:t>
            </a:r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GROUP0</a:t>
            </a:r>
          </a:p>
          <a:p>
            <a:endParaRPr lang="de-DE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8AEC07E-8E6C-D5E9-DE04-8349217E19E7}"/>
              </a:ext>
            </a:extLst>
          </p:cNvPr>
          <p:cNvSpPr/>
          <p:nvPr/>
        </p:nvSpPr>
        <p:spPr>
          <a:xfrm>
            <a:off x="430306" y="1343819"/>
            <a:ext cx="3723869" cy="3930145"/>
          </a:xfrm>
          <a:prstGeom prst="rect">
            <a:avLst/>
          </a:prstGeom>
          <a:noFill/>
          <a:ln w="57150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B8B04E2-64B4-B79A-C829-FFE1EE274872}"/>
              </a:ext>
            </a:extLst>
          </p:cNvPr>
          <p:cNvSpPr/>
          <p:nvPr/>
        </p:nvSpPr>
        <p:spPr>
          <a:xfrm>
            <a:off x="508943" y="4190534"/>
            <a:ext cx="3568554" cy="972593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SharePoint Online Team Site</a:t>
            </a:r>
          </a:p>
          <a:p>
            <a:pPr algn="ctr"/>
            <a:endParaRPr lang="de-DE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  <a:t>Team Site für alle </a:t>
            </a:r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privaten</a:t>
            </a:r>
            <a: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  <a:t> Kanäle</a:t>
            </a:r>
            <a:b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  <a:t>Vorlage </a:t>
            </a:r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TEAMCHANNEL</a:t>
            </a:r>
          </a:p>
          <a:p>
            <a:endParaRPr lang="de-DE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640EDC0-4ADF-50F7-225E-E9CA1C7CEB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2130" y="1343819"/>
            <a:ext cx="8258175" cy="266477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783D01C-42B7-D6DC-F76C-C1DA61E6C5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02130" y="4190534"/>
            <a:ext cx="8727629" cy="2330289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1EA1B50F-D7F8-3E9A-0354-C4E6DDCF90F1}"/>
              </a:ext>
            </a:extLst>
          </p:cNvPr>
          <p:cNvSpPr/>
          <p:nvPr/>
        </p:nvSpPr>
        <p:spPr>
          <a:xfrm>
            <a:off x="6359780" y="3764250"/>
            <a:ext cx="843552" cy="195774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EFF4C2F-CEDB-9C2A-9E86-F3BD8C2E0643}"/>
              </a:ext>
            </a:extLst>
          </p:cNvPr>
          <p:cNvSpPr/>
          <p:nvPr/>
        </p:nvSpPr>
        <p:spPr>
          <a:xfrm>
            <a:off x="7459004" y="5416294"/>
            <a:ext cx="4651931" cy="1047736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68548237-3FE4-0E6B-42CD-7BB01FC459B6}"/>
              </a:ext>
            </a:extLst>
          </p:cNvPr>
          <p:cNvCxnSpPr>
            <a:cxnSpLocks/>
          </p:cNvCxnSpPr>
          <p:nvPr/>
        </p:nvCxnSpPr>
        <p:spPr>
          <a:xfrm flipH="1" flipV="1">
            <a:off x="8307421" y="5514181"/>
            <a:ext cx="418290" cy="152181"/>
          </a:xfrm>
          <a:prstGeom prst="straightConnector1">
            <a:avLst/>
          </a:prstGeom>
          <a:ln w="381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03A29B5C-E150-9F81-11E3-A5BA0E75CE55}"/>
              </a:ext>
            </a:extLst>
          </p:cNvPr>
          <p:cNvSpPr/>
          <p:nvPr/>
        </p:nvSpPr>
        <p:spPr>
          <a:xfrm>
            <a:off x="7974571" y="2285033"/>
            <a:ext cx="4136364" cy="842409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29B70223-9B91-3471-9A9B-2D8C705D4753}"/>
              </a:ext>
            </a:extLst>
          </p:cNvPr>
          <p:cNvCxnSpPr>
            <a:cxnSpLocks/>
          </p:cNvCxnSpPr>
          <p:nvPr/>
        </p:nvCxnSpPr>
        <p:spPr>
          <a:xfrm flipH="1" flipV="1">
            <a:off x="8921885" y="2362941"/>
            <a:ext cx="418290" cy="152181"/>
          </a:xfrm>
          <a:prstGeom prst="straightConnector1">
            <a:avLst/>
          </a:prstGeom>
          <a:ln w="381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9">
            <a:extLst>
              <a:ext uri="{FF2B5EF4-FFF2-40B4-BE49-F238E27FC236}">
                <a16:creationId xmlns:a16="http://schemas.microsoft.com/office/drawing/2014/main" id="{F0E2C4A7-53F6-05D4-AD99-EA57A41E82FA}"/>
              </a:ext>
            </a:extLst>
          </p:cNvPr>
          <p:cNvSpPr/>
          <p:nvPr/>
        </p:nvSpPr>
        <p:spPr>
          <a:xfrm>
            <a:off x="507964" y="4196691"/>
            <a:ext cx="3568554" cy="989644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106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9D1177DD-1595-5C77-A720-F88752F4B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ams – Private Kanä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34324F4-EF54-BB74-5F83-7CFDC3B52DA1}"/>
              </a:ext>
            </a:extLst>
          </p:cNvPr>
          <p:cNvSpPr/>
          <p:nvPr/>
        </p:nvSpPr>
        <p:spPr>
          <a:xfrm>
            <a:off x="508943" y="1403648"/>
            <a:ext cx="3568555" cy="77084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Microsoft 365 Grupp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705107B-7F28-A541-D650-D00D5546E37E}"/>
              </a:ext>
            </a:extLst>
          </p:cNvPr>
          <p:cNvSpPr/>
          <p:nvPr/>
        </p:nvSpPr>
        <p:spPr>
          <a:xfrm>
            <a:off x="508943" y="2234318"/>
            <a:ext cx="3568554" cy="49298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Exchange Online Mailbox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1DEDC14-706C-4A1C-7D18-F960A9D2C664}"/>
              </a:ext>
            </a:extLst>
          </p:cNvPr>
          <p:cNvSpPr/>
          <p:nvPr/>
        </p:nvSpPr>
        <p:spPr>
          <a:xfrm>
            <a:off x="508943" y="2787128"/>
            <a:ext cx="3568554" cy="13435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SharePoint Online Team Site</a:t>
            </a:r>
          </a:p>
          <a:p>
            <a:pPr algn="ctr"/>
            <a:endParaRPr lang="de-DE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  <a:t>Team Site mit Dokumentenbibliothek und anderen Ressourcen für alle Standardkanäle</a:t>
            </a:r>
            <a:b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  <a:t>Vorlage </a:t>
            </a:r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GROUP0</a:t>
            </a:r>
          </a:p>
          <a:p>
            <a:endParaRPr lang="de-DE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8AEC07E-8E6C-D5E9-DE04-8349217E19E7}"/>
              </a:ext>
            </a:extLst>
          </p:cNvPr>
          <p:cNvSpPr/>
          <p:nvPr/>
        </p:nvSpPr>
        <p:spPr>
          <a:xfrm>
            <a:off x="430306" y="1343819"/>
            <a:ext cx="3723869" cy="4927672"/>
          </a:xfrm>
          <a:prstGeom prst="rect">
            <a:avLst/>
          </a:prstGeom>
          <a:noFill/>
          <a:ln w="57150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B8B04E2-64B4-B79A-C829-FFE1EE274872}"/>
              </a:ext>
            </a:extLst>
          </p:cNvPr>
          <p:cNvSpPr/>
          <p:nvPr/>
        </p:nvSpPr>
        <p:spPr>
          <a:xfrm>
            <a:off x="508943" y="4190534"/>
            <a:ext cx="3568554" cy="972593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SharePoint Online Team Site</a:t>
            </a:r>
          </a:p>
          <a:p>
            <a:pPr algn="ctr"/>
            <a:endParaRPr lang="de-DE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  <a:t>Team Site für alle </a:t>
            </a:r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privaten</a:t>
            </a:r>
            <a: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  <a:t> Kanäle</a:t>
            </a:r>
            <a:b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  <a:t>Vorlage </a:t>
            </a:r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TEAMCHANNEL</a:t>
            </a:r>
          </a:p>
          <a:p>
            <a:endParaRPr lang="de-DE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2E3591D-1C62-2AFA-A914-7DD3716D2DFC}"/>
              </a:ext>
            </a:extLst>
          </p:cNvPr>
          <p:cNvSpPr/>
          <p:nvPr/>
        </p:nvSpPr>
        <p:spPr>
          <a:xfrm>
            <a:off x="507963" y="5222958"/>
            <a:ext cx="3568554" cy="972593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SharePoint Online Team Site</a:t>
            </a:r>
          </a:p>
          <a:p>
            <a:pPr algn="ctr"/>
            <a:endParaRPr lang="de-DE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  <a:t>Team Site für alle </a:t>
            </a:r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freigegebenen</a:t>
            </a:r>
            <a: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  <a:t> Kanäle</a:t>
            </a:r>
            <a:b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  <a:t>Vorlage </a:t>
            </a:r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TEAMCHANNEL</a:t>
            </a:r>
          </a:p>
          <a:p>
            <a:endParaRPr lang="de-DE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DAD0CB0-5C55-021C-77EA-02F40DC4A8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9763" y="1343819"/>
            <a:ext cx="8077200" cy="276121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836FDFE2-501E-C78A-6BC5-6925A1082F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9763" y="4242271"/>
            <a:ext cx="9351523" cy="2543820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FF34BABA-7C72-85A5-0BF8-BB4305941B32}"/>
              </a:ext>
            </a:extLst>
          </p:cNvPr>
          <p:cNvSpPr/>
          <p:nvPr/>
        </p:nvSpPr>
        <p:spPr>
          <a:xfrm>
            <a:off x="6364644" y="3879992"/>
            <a:ext cx="1057560" cy="195774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2A456B4-C9BA-8B04-A42B-A266521E601A}"/>
              </a:ext>
            </a:extLst>
          </p:cNvPr>
          <p:cNvSpPr/>
          <p:nvPr/>
        </p:nvSpPr>
        <p:spPr>
          <a:xfrm>
            <a:off x="7580601" y="5559004"/>
            <a:ext cx="4394147" cy="958528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1E52F17-4088-1EDD-FA23-9F6689114A2B}"/>
              </a:ext>
            </a:extLst>
          </p:cNvPr>
          <p:cNvSpPr/>
          <p:nvPr/>
        </p:nvSpPr>
        <p:spPr>
          <a:xfrm>
            <a:off x="7955115" y="2234317"/>
            <a:ext cx="4019633" cy="873669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7C03B427-AD92-007D-A9CC-7E4AD6FC6241}"/>
              </a:ext>
            </a:extLst>
          </p:cNvPr>
          <p:cNvCxnSpPr>
            <a:cxnSpLocks/>
          </p:cNvCxnSpPr>
          <p:nvPr/>
        </p:nvCxnSpPr>
        <p:spPr>
          <a:xfrm flipH="1" flipV="1">
            <a:off x="8741923" y="2362941"/>
            <a:ext cx="418290" cy="152181"/>
          </a:xfrm>
          <a:prstGeom prst="straightConnector1">
            <a:avLst/>
          </a:prstGeom>
          <a:ln w="381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16">
            <a:extLst>
              <a:ext uri="{FF2B5EF4-FFF2-40B4-BE49-F238E27FC236}">
                <a16:creationId xmlns:a16="http://schemas.microsoft.com/office/drawing/2014/main" id="{15F86AE7-D394-AE72-77F5-CA8F4DB42D15}"/>
              </a:ext>
            </a:extLst>
          </p:cNvPr>
          <p:cNvSpPr/>
          <p:nvPr/>
        </p:nvSpPr>
        <p:spPr>
          <a:xfrm>
            <a:off x="507964" y="5222959"/>
            <a:ext cx="3568554" cy="989644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288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61AC9D-67D9-847E-4463-F82B1D7B5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dministration von Kanal Team Sites </a:t>
            </a:r>
            <a:br>
              <a:rPr lang="de-DE" dirty="0"/>
            </a:br>
            <a:r>
              <a:rPr lang="de-DE" dirty="0"/>
              <a:t>im SharePoint Admin Center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3FF6CF8-8A1F-3580-B114-51F36DEE13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3012" y="2491164"/>
            <a:ext cx="9705975" cy="3207268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D244D4A0-F7B1-4B14-BA01-3F5D897EE92B}"/>
              </a:ext>
            </a:extLst>
          </p:cNvPr>
          <p:cNvSpPr/>
          <p:nvPr/>
        </p:nvSpPr>
        <p:spPr>
          <a:xfrm>
            <a:off x="3543300" y="4344567"/>
            <a:ext cx="7296150" cy="308396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DA129882-6F09-06F1-5068-5884A43C500C}"/>
              </a:ext>
            </a:extLst>
          </p:cNvPr>
          <p:cNvCxnSpPr/>
          <p:nvPr/>
        </p:nvCxnSpPr>
        <p:spPr>
          <a:xfrm flipH="1">
            <a:off x="7629525" y="3897633"/>
            <a:ext cx="361150" cy="50533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12B0DC31-B6A5-3F42-CC5D-94793B55CFD0}"/>
              </a:ext>
            </a:extLst>
          </p:cNvPr>
          <p:cNvSpPr txBox="1"/>
          <p:nvPr/>
        </p:nvSpPr>
        <p:spPr>
          <a:xfrm>
            <a:off x="7016750" y="3649541"/>
            <a:ext cx="2238469" cy="432619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buClr>
                <a:schemeClr val="accent1"/>
              </a:buClr>
            </a:pPr>
            <a:r>
              <a:rPr lang="de-DE" sz="1100" dirty="0"/>
              <a:t>Team Sites privater und freigegebener Kanäl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AA897D3-B9C2-BBBE-C806-338DF3700BE7}"/>
              </a:ext>
            </a:extLst>
          </p:cNvPr>
          <p:cNvSpPr txBox="1"/>
          <p:nvPr/>
        </p:nvSpPr>
        <p:spPr>
          <a:xfrm>
            <a:off x="1352550" y="4728469"/>
            <a:ext cx="2238469" cy="25487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buClr>
                <a:schemeClr val="accent1"/>
              </a:buClr>
            </a:pPr>
            <a:r>
              <a:rPr lang="de-DE" sz="1100" dirty="0"/>
              <a:t>Team Site der M365 Gruppe</a:t>
            </a:r>
          </a:p>
        </p:txBody>
      </p:sp>
    </p:spTree>
    <p:extLst>
      <p:ext uri="{BB962C8B-B14F-4D97-AF65-F5344CB8AC3E}">
        <p14:creationId xmlns:p14="http://schemas.microsoft.com/office/powerpoint/2010/main" val="4012003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61AC9D-67D9-847E-4463-F82B1D7B5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dministration von Kanal Team Sites </a:t>
            </a:r>
            <a:br>
              <a:rPr lang="de-DE" dirty="0"/>
            </a:br>
            <a:r>
              <a:rPr lang="de-DE" dirty="0"/>
              <a:t>im SharePoint Admin Center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6527E70-3C49-0A4A-BA3E-E13AF85CA9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3494" y="2294660"/>
            <a:ext cx="9625012" cy="317173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8DFCBCEE-6463-5928-2156-C808C5D63615}"/>
              </a:ext>
            </a:extLst>
          </p:cNvPr>
          <p:cNvSpPr/>
          <p:nvPr/>
        </p:nvSpPr>
        <p:spPr>
          <a:xfrm>
            <a:off x="3267074" y="4639842"/>
            <a:ext cx="7641431" cy="617958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99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ED40B2-A561-3CA2-7997-21B3E48DD9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arePoint Berechtigungen</a:t>
            </a:r>
          </a:p>
        </p:txBody>
      </p:sp>
      <p:pic>
        <p:nvPicPr>
          <p:cNvPr id="3" name="Picture 2" descr="Microsoft Teams and SharePoint permissions explained">
            <a:extLst>
              <a:ext uri="{FF2B5EF4-FFF2-40B4-BE49-F238E27FC236}">
                <a16:creationId xmlns:a16="http://schemas.microsoft.com/office/drawing/2014/main" id="{D83ED218-7628-E560-C44B-1787846AD1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261" y="1846977"/>
            <a:ext cx="7945084" cy="4480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2DC6C723-87E0-75FD-E1B2-AAE1A05476AB}"/>
              </a:ext>
            </a:extLst>
          </p:cNvPr>
          <p:cNvSpPr txBox="1">
            <a:spLocks/>
          </p:cNvSpPr>
          <p:nvPr/>
        </p:nvSpPr>
        <p:spPr>
          <a:xfrm>
            <a:off x="8035635" y="1519476"/>
            <a:ext cx="4038104" cy="53385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/>
              <a:t>Als Mitglied eines Teams wird die Mitgliedschaft auf Basis der zugehörigen M365 Gruppe gleichen Namens ermittelt</a:t>
            </a:r>
          </a:p>
          <a:p>
            <a:pPr lvl="1"/>
            <a:r>
              <a:rPr lang="de-DE" sz="1600" dirty="0"/>
              <a:t>Es gibt Mitglieder (Members) und Eigentümer (</a:t>
            </a:r>
            <a:r>
              <a:rPr lang="de-DE" sz="1600" dirty="0" err="1"/>
              <a:t>Owners</a:t>
            </a:r>
            <a:r>
              <a:rPr lang="de-DE" sz="1600" dirty="0"/>
              <a:t>)</a:t>
            </a:r>
          </a:p>
          <a:p>
            <a:r>
              <a:rPr lang="de-DE" sz="1600" dirty="0"/>
              <a:t>Jedes Team besitzt eine SharePoint Site Collection</a:t>
            </a:r>
          </a:p>
          <a:p>
            <a:r>
              <a:rPr lang="de-DE" sz="1600" dirty="0"/>
              <a:t>Das Berechtigungskonzept von SharePoint basiert auf SharePoint-Gruppen</a:t>
            </a:r>
          </a:p>
          <a:p>
            <a:r>
              <a:rPr lang="de-DE" sz="1600" dirty="0"/>
              <a:t>Mitglieder der M365 Gruppe sind automatisch Mitglied korrespondierenden SharePoint Berechtigungsgruppe</a:t>
            </a:r>
          </a:p>
          <a:p>
            <a:r>
              <a:rPr lang="de-DE" sz="1600" dirty="0"/>
              <a:t>Es können spezifische SharePoint-Berechtigungen vergeben werden</a:t>
            </a:r>
          </a:p>
          <a:p>
            <a:endParaRPr lang="de-DE" sz="1600" dirty="0"/>
          </a:p>
        </p:txBody>
      </p:sp>
      <p:pic>
        <p:nvPicPr>
          <p:cNvPr id="5" name="Grafik 4" descr="Marke 1 mit einfarbiger Füllung">
            <a:extLst>
              <a:ext uri="{FF2B5EF4-FFF2-40B4-BE49-F238E27FC236}">
                <a16:creationId xmlns:a16="http://schemas.microsoft.com/office/drawing/2014/main" id="{E9CCDF82-A2D8-6F93-FA5A-8654B3F6AA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950198" y="1495836"/>
            <a:ext cx="300182" cy="300182"/>
          </a:xfrm>
          <a:prstGeom prst="rect">
            <a:avLst/>
          </a:prstGeom>
        </p:spPr>
      </p:pic>
      <p:pic>
        <p:nvPicPr>
          <p:cNvPr id="6" name="Grafik 5" descr="Abzeichen mit einfarbiger Füllung">
            <a:extLst>
              <a:ext uri="{FF2B5EF4-FFF2-40B4-BE49-F238E27FC236}">
                <a16:creationId xmlns:a16="http://schemas.microsoft.com/office/drawing/2014/main" id="{A3A1EB7E-3DB6-3DBF-661F-EBDABE6875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50198" y="3028593"/>
            <a:ext cx="300182" cy="300182"/>
          </a:xfrm>
          <a:prstGeom prst="rect">
            <a:avLst/>
          </a:prstGeom>
        </p:spPr>
      </p:pic>
      <p:pic>
        <p:nvPicPr>
          <p:cNvPr id="7" name="Grafik 6" descr="Marke 3 mit einfarbiger Füllung">
            <a:extLst>
              <a:ext uri="{FF2B5EF4-FFF2-40B4-BE49-F238E27FC236}">
                <a16:creationId xmlns:a16="http://schemas.microsoft.com/office/drawing/2014/main" id="{9F3A6A0B-3D5B-2105-AC9E-2D60D1561DD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50198" y="3589542"/>
            <a:ext cx="300183" cy="300183"/>
          </a:xfrm>
          <a:prstGeom prst="rect">
            <a:avLst/>
          </a:prstGeom>
        </p:spPr>
      </p:pic>
      <p:pic>
        <p:nvPicPr>
          <p:cNvPr id="8" name="Grafik 7" descr="Marke 4 mit einfarbiger Füllung">
            <a:extLst>
              <a:ext uri="{FF2B5EF4-FFF2-40B4-BE49-F238E27FC236}">
                <a16:creationId xmlns:a16="http://schemas.microsoft.com/office/drawing/2014/main" id="{F74AF556-011C-F4B2-0693-A0B5A0BCBE4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50198" y="4366217"/>
            <a:ext cx="300183" cy="300183"/>
          </a:xfrm>
          <a:prstGeom prst="rect">
            <a:avLst/>
          </a:prstGeom>
        </p:spPr>
      </p:pic>
      <p:pic>
        <p:nvPicPr>
          <p:cNvPr id="9" name="Grafik 8" descr="Marke 5 mit einfarbiger Füllung">
            <a:extLst>
              <a:ext uri="{FF2B5EF4-FFF2-40B4-BE49-F238E27FC236}">
                <a16:creationId xmlns:a16="http://schemas.microsoft.com/office/drawing/2014/main" id="{03F3AACD-4647-1A36-A440-87EC37FD8A1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50198" y="5362164"/>
            <a:ext cx="300183" cy="300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89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25DFB0-FC40-42F5-DBD3-93B662BCB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arePoint Berechtigungen – Private Kanä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77EB1D4-90A4-57C0-424C-F5ADC3F0B1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93" y="2288077"/>
            <a:ext cx="8693457" cy="3644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414617F5-1CD2-B681-86F1-15E8F1624CB4}"/>
              </a:ext>
            </a:extLst>
          </p:cNvPr>
          <p:cNvSpPr txBox="1">
            <a:spLocks/>
          </p:cNvSpPr>
          <p:nvPr/>
        </p:nvSpPr>
        <p:spPr>
          <a:xfrm>
            <a:off x="8035635" y="1519476"/>
            <a:ext cx="4038104" cy="53385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/>
              <a:t>Für einen privaten Kanal wird eine separate, versteckte M365-Gruppe und eine korrespondierende SharePoint-Site erstellt</a:t>
            </a:r>
          </a:p>
          <a:p>
            <a:r>
              <a:rPr lang="de-DE" sz="1600" dirty="0"/>
              <a:t>Der private Kanal verfügt über eigene Berechtigungen, die Mitglieder stammen aus der übergeordneten M365-Gruppe</a:t>
            </a:r>
          </a:p>
          <a:p>
            <a:r>
              <a:rPr lang="de-DE" sz="1600" dirty="0"/>
              <a:t>SharePoint Berechtigungen sind anders als bei einer normalen M365-Gruppe</a:t>
            </a:r>
          </a:p>
          <a:p>
            <a:pPr lvl="1"/>
            <a:r>
              <a:rPr lang="de-DE" sz="1400" dirty="0"/>
              <a:t>Gruppen-Mitglieder werden individuell den SharePoint-Gruppen hinzugefügt</a:t>
            </a:r>
          </a:p>
        </p:txBody>
      </p:sp>
      <p:pic>
        <p:nvPicPr>
          <p:cNvPr id="5" name="Grafik 4" descr="Marke 6 mit einfarbiger Füllung">
            <a:extLst>
              <a:ext uri="{FF2B5EF4-FFF2-40B4-BE49-F238E27FC236}">
                <a16:creationId xmlns:a16="http://schemas.microsoft.com/office/drawing/2014/main" id="{EF4E2B0D-AEFF-B062-FEE8-202C213807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959434" y="1510240"/>
            <a:ext cx="300182" cy="300182"/>
          </a:xfrm>
          <a:prstGeom prst="rect">
            <a:avLst/>
          </a:prstGeom>
        </p:spPr>
      </p:pic>
      <p:pic>
        <p:nvPicPr>
          <p:cNvPr id="6" name="Grafik 5" descr="Marke 7 mit einfarbiger Füllung">
            <a:extLst>
              <a:ext uri="{FF2B5EF4-FFF2-40B4-BE49-F238E27FC236}">
                <a16:creationId xmlns:a16="http://schemas.microsoft.com/office/drawing/2014/main" id="{A5C21A4D-B3EE-0281-73A8-49D1CF3B8F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59434" y="2510230"/>
            <a:ext cx="300182" cy="300182"/>
          </a:xfrm>
          <a:prstGeom prst="rect">
            <a:avLst/>
          </a:prstGeom>
        </p:spPr>
      </p:pic>
      <p:pic>
        <p:nvPicPr>
          <p:cNvPr id="7" name="Grafik 6" descr="Marke 8 mit einfarbiger Füllung">
            <a:extLst>
              <a:ext uri="{FF2B5EF4-FFF2-40B4-BE49-F238E27FC236}">
                <a16:creationId xmlns:a16="http://schemas.microsoft.com/office/drawing/2014/main" id="{A9F78033-2B74-07F4-5D01-8CD96DFDF23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59434" y="3505125"/>
            <a:ext cx="300183" cy="300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771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25DFB0-FC40-42F5-DBD3-93B662BCB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arePoint Berechtigungen – Private Kanä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77EB1D4-90A4-57C0-424C-F5ADC3F0B1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93" y="2288077"/>
            <a:ext cx="8693457" cy="3644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414617F5-1CD2-B681-86F1-15E8F1624CB4}"/>
              </a:ext>
            </a:extLst>
          </p:cNvPr>
          <p:cNvSpPr txBox="1">
            <a:spLocks/>
          </p:cNvSpPr>
          <p:nvPr/>
        </p:nvSpPr>
        <p:spPr>
          <a:xfrm>
            <a:off x="8035635" y="1519476"/>
            <a:ext cx="4038104" cy="53385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/>
              <a:t>SharePoint Berechtigungen</a:t>
            </a:r>
          </a:p>
          <a:p>
            <a:pPr lvl="1"/>
            <a:r>
              <a:rPr lang="de-DE" sz="1400" dirty="0"/>
              <a:t>Der Ersteller des privaten Kanals ist Site Collection Administrator</a:t>
            </a:r>
          </a:p>
          <a:p>
            <a:pPr lvl="1"/>
            <a:r>
              <a:rPr lang="de-DE" sz="1400" dirty="0"/>
              <a:t>Weitere Kanaleigentümer sind Site Eigentümer</a:t>
            </a:r>
          </a:p>
          <a:p>
            <a:pPr lvl="1"/>
            <a:r>
              <a:rPr lang="de-DE" sz="1400" dirty="0"/>
              <a:t>Kanalmitglieder sind Site-Mitglieder</a:t>
            </a:r>
          </a:p>
          <a:p>
            <a:r>
              <a:rPr lang="de-DE" sz="1600" dirty="0"/>
              <a:t>Der SharePoint-Gruppe der Site-Mitglieder können weitere Personen hinzugefügt werden.</a:t>
            </a:r>
          </a:p>
        </p:txBody>
      </p:sp>
      <p:pic>
        <p:nvPicPr>
          <p:cNvPr id="8" name="Grafik 7" descr="Marke 9 mit einfarbiger Füllung">
            <a:extLst>
              <a:ext uri="{FF2B5EF4-FFF2-40B4-BE49-F238E27FC236}">
                <a16:creationId xmlns:a16="http://schemas.microsoft.com/office/drawing/2014/main" id="{9DE99793-E37F-DA6F-C823-8E363939BF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959431" y="1506140"/>
            <a:ext cx="300183" cy="300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307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0E8EAA7-76C4-4D2B-81CE-57CA4627D3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benszyklus und Aufbewahru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4140262-613E-47E0-8110-F2C2EDE2EF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7182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A1E9742C-F1B9-D139-73C3-1EAE52551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benszyklus </a:t>
            </a:r>
            <a:r>
              <a:rPr lang="de-DE" dirty="0" err="1"/>
              <a:t>vs</a:t>
            </a:r>
            <a:r>
              <a:rPr lang="de-DE" dirty="0"/>
              <a:t> Aufbewahrung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99AC2BC8-81AF-E5B6-BACA-B05F5DC84E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Lebenszyklus</a:t>
            </a:r>
          </a:p>
          <a:p>
            <a:r>
              <a:rPr lang="de-DE" dirty="0"/>
              <a:t>Azure AD steuert den Lebenszyklus einer Microsoft 365 Gruppe über ein Ablaufdatum</a:t>
            </a:r>
          </a:p>
          <a:p>
            <a:r>
              <a:rPr lang="de-DE" dirty="0"/>
              <a:t>Dies gilt für alle Gruppen, ausgewählte Gruppen oder keine Gruppe</a:t>
            </a:r>
          </a:p>
          <a:p>
            <a:r>
              <a:rPr lang="de-DE" dirty="0"/>
              <a:t>Eine Löschung folgt den Löschung- und Wiederherstellungsfristen der Speicherorte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b="1" dirty="0"/>
              <a:t>Retention</a:t>
            </a:r>
          </a:p>
          <a:p>
            <a:r>
              <a:rPr lang="de-DE" dirty="0"/>
              <a:t>Microsoft 365 Aufbewahrungsrichtlinien (</a:t>
            </a:r>
            <a:r>
              <a:rPr lang="de-DE" dirty="0" err="1"/>
              <a:t>Purview</a:t>
            </a:r>
            <a:r>
              <a:rPr lang="de-DE" dirty="0"/>
              <a:t> Retention </a:t>
            </a:r>
            <a:r>
              <a:rPr lang="de-DE" dirty="0" err="1"/>
              <a:t>Policies</a:t>
            </a:r>
            <a:r>
              <a:rPr lang="de-DE" dirty="0"/>
              <a:t>) steuern die zeitliche Aufbewahrung und verzögerte Löschung für ausgewählte Speicherorte</a:t>
            </a:r>
          </a:p>
          <a:p>
            <a:r>
              <a:rPr lang="de-DE" dirty="0"/>
              <a:t>Aufbewahrung übersteuert die Löschung von Inhalten</a:t>
            </a:r>
          </a:p>
          <a:p>
            <a:r>
              <a:rPr lang="de-DE" dirty="0"/>
              <a:t>Eine finale Löschung kann eine manuelle Freigabe erfordern, insofern konfiguriert</a:t>
            </a:r>
          </a:p>
          <a:p>
            <a:r>
              <a:rPr lang="de-DE" dirty="0"/>
              <a:t>Exchange Legacy Retention </a:t>
            </a:r>
            <a:r>
              <a:rPr lang="de-DE" dirty="0" err="1"/>
              <a:t>Policies</a:t>
            </a:r>
            <a:r>
              <a:rPr lang="de-DE" dirty="0"/>
              <a:t> helfen bei Microsoft 365 Gruppen nicht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3494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4CF2DB0-04B9-963D-D12D-C8FD55502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uppen-Ablaufdatum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B87A386-87FA-AB49-A822-FB6EB7FA63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973" y="1611306"/>
            <a:ext cx="10660053" cy="46417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10359D8F-CBB1-D419-B487-D61476022BA6}"/>
              </a:ext>
            </a:extLst>
          </p:cNvPr>
          <p:cNvSpPr/>
          <p:nvPr/>
        </p:nvSpPr>
        <p:spPr>
          <a:xfrm>
            <a:off x="3192615" y="2555331"/>
            <a:ext cx="8199285" cy="1926182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674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0E8EAA7-76C4-4D2B-81CE-57CA4627D3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365 Grupp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4140262-613E-47E0-8110-F2C2EDE2EF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rundlagen</a:t>
            </a:r>
          </a:p>
        </p:txBody>
      </p:sp>
    </p:spTree>
    <p:extLst>
      <p:ext uri="{BB962C8B-B14F-4D97-AF65-F5344CB8AC3E}">
        <p14:creationId xmlns:p14="http://schemas.microsoft.com/office/powerpoint/2010/main" val="191661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0CAE9E-04E5-9933-C197-1375E0003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365 Aufbewahrungsrichtlini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18E8870-9C83-C43E-6F44-337784DAEA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8519" y="1623554"/>
            <a:ext cx="7854962" cy="46961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4007DFEA-7A0D-2B6D-EFBD-0913BE5A85B7}"/>
              </a:ext>
            </a:extLst>
          </p:cNvPr>
          <p:cNvSpPr/>
          <p:nvPr/>
        </p:nvSpPr>
        <p:spPr>
          <a:xfrm>
            <a:off x="3140227" y="3039180"/>
            <a:ext cx="6737198" cy="3280504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489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0CAE9E-04E5-9933-C197-1375E0003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365 Aufbewahrungsrichtlini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08F7458-D7C3-5E1B-E8A3-517EEB2CDF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9404" y="1952625"/>
            <a:ext cx="6393192" cy="405533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35FF65B5-F3B4-D2C1-2125-3052B77F63A2}"/>
              </a:ext>
            </a:extLst>
          </p:cNvPr>
          <p:cNvSpPr/>
          <p:nvPr/>
        </p:nvSpPr>
        <p:spPr>
          <a:xfrm>
            <a:off x="3830789" y="2015242"/>
            <a:ext cx="5251299" cy="3923595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229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0CAE9E-04E5-9933-C197-1375E0003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365 Aufbewahrungsrichtlini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1734EF8-7452-6321-1FE0-C878F4A7BA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5803" y="1459734"/>
            <a:ext cx="8620394" cy="464550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47A673EF-CBE1-00F2-8563-4B785A0F502E}"/>
              </a:ext>
            </a:extLst>
          </p:cNvPr>
          <p:cNvSpPr/>
          <p:nvPr/>
        </p:nvSpPr>
        <p:spPr>
          <a:xfrm>
            <a:off x="1901977" y="2496255"/>
            <a:ext cx="8432648" cy="3399720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0117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B97374-499A-7147-9ED7-2E6F9EA903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uppen-Ablaufdatum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4C96BAE-6318-04BB-20B0-11C4933702E2}"/>
              </a:ext>
            </a:extLst>
          </p:cNvPr>
          <p:cNvSpPr/>
          <p:nvPr/>
        </p:nvSpPr>
        <p:spPr>
          <a:xfrm>
            <a:off x="508943" y="1403648"/>
            <a:ext cx="3568555" cy="77084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Microsoft 365 Grupp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7945B53-2ED5-6EB6-F492-FF7A14B7B340}"/>
              </a:ext>
            </a:extLst>
          </p:cNvPr>
          <p:cNvSpPr/>
          <p:nvPr/>
        </p:nvSpPr>
        <p:spPr>
          <a:xfrm>
            <a:off x="508943" y="2234318"/>
            <a:ext cx="3568554" cy="49298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Exchange Online Mailbox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F5889D0-660A-2CD8-719E-C27DF474805C}"/>
              </a:ext>
            </a:extLst>
          </p:cNvPr>
          <p:cNvSpPr/>
          <p:nvPr/>
        </p:nvSpPr>
        <p:spPr>
          <a:xfrm>
            <a:off x="508942" y="2787128"/>
            <a:ext cx="1738957" cy="13435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SharePoint Online Team Site</a:t>
            </a:r>
          </a:p>
          <a:p>
            <a:pPr algn="ctr"/>
            <a:endParaRPr lang="de-DE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6C889EA-5927-DBB3-9A4B-C64935AF6287}"/>
              </a:ext>
            </a:extLst>
          </p:cNvPr>
          <p:cNvSpPr/>
          <p:nvPr/>
        </p:nvSpPr>
        <p:spPr>
          <a:xfrm>
            <a:off x="430306" y="1343819"/>
            <a:ext cx="3723869" cy="4585494"/>
          </a:xfrm>
          <a:prstGeom prst="rect">
            <a:avLst/>
          </a:prstGeom>
          <a:noFill/>
          <a:ln w="57150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14B4132-E0FF-8BE8-145C-744A9CAEE1A8}"/>
              </a:ext>
            </a:extLst>
          </p:cNvPr>
          <p:cNvSpPr/>
          <p:nvPr/>
        </p:nvSpPr>
        <p:spPr>
          <a:xfrm>
            <a:off x="508943" y="4190533"/>
            <a:ext cx="1738956" cy="161772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Microsoft Teams</a:t>
            </a:r>
            <a:endParaRPr lang="de-DE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87D9C96-8B9F-AFEA-6C87-E0B2C4569D9C}"/>
              </a:ext>
            </a:extLst>
          </p:cNvPr>
          <p:cNvSpPr/>
          <p:nvPr/>
        </p:nvSpPr>
        <p:spPr>
          <a:xfrm>
            <a:off x="2326535" y="2787129"/>
            <a:ext cx="1738957" cy="641872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Team Site Standardkanä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AA74E6F-53C7-B9DD-AED2-100A47A29DF0}"/>
              </a:ext>
            </a:extLst>
          </p:cNvPr>
          <p:cNvSpPr/>
          <p:nvPr/>
        </p:nvSpPr>
        <p:spPr>
          <a:xfrm>
            <a:off x="2326534" y="3488830"/>
            <a:ext cx="1738957" cy="641872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Team Sites </a:t>
            </a:r>
            <a:b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priv./</a:t>
            </a:r>
            <a:r>
              <a:rPr lang="de-DE" sz="12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freigegeb</a:t>
            </a:r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b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Kanä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52E6DF8-29C3-3C58-2D5C-D12128DD8433}"/>
              </a:ext>
            </a:extLst>
          </p:cNvPr>
          <p:cNvSpPr/>
          <p:nvPr/>
        </p:nvSpPr>
        <p:spPr>
          <a:xfrm>
            <a:off x="2326533" y="4196908"/>
            <a:ext cx="1738957" cy="492980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Standard Kanä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121887B-2036-2741-2C88-5C429602BEB8}"/>
              </a:ext>
            </a:extLst>
          </p:cNvPr>
          <p:cNvSpPr/>
          <p:nvPr/>
        </p:nvSpPr>
        <p:spPr>
          <a:xfrm>
            <a:off x="2326532" y="4756094"/>
            <a:ext cx="1738957" cy="492980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Chat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8D31E09-17D0-6943-A947-D6E78DE4CC79}"/>
              </a:ext>
            </a:extLst>
          </p:cNvPr>
          <p:cNvSpPr/>
          <p:nvPr/>
        </p:nvSpPr>
        <p:spPr>
          <a:xfrm>
            <a:off x="2326532" y="5315280"/>
            <a:ext cx="1738957" cy="492980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Private Kanäle</a:t>
            </a:r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id="{4041F071-3D10-E946-7C80-33C1252D0E0E}"/>
              </a:ext>
            </a:extLst>
          </p:cNvPr>
          <p:cNvSpPr txBox="1">
            <a:spLocks/>
          </p:cNvSpPr>
          <p:nvPr/>
        </p:nvSpPr>
        <p:spPr>
          <a:xfrm>
            <a:off x="4811805" y="5105400"/>
            <a:ext cx="7542119" cy="23792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dirty="0"/>
              <a:t>Löschung der Microsoft 365 Gruppe nach Erreichen der Lebensdauer</a:t>
            </a:r>
          </a:p>
          <a:p>
            <a:r>
              <a:rPr lang="de-DE" sz="2000" dirty="0"/>
              <a:t>Inklusive aller verknüpften Ressourcen</a:t>
            </a:r>
          </a:p>
          <a:p>
            <a:pPr lvl="1"/>
            <a:r>
              <a:rPr lang="de-DE" sz="1800" dirty="0"/>
              <a:t>Planner, OneNote, etc. 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1F107ACC-52AC-85EA-144F-8D688A24665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116" t="33843" r="34516" b="8414"/>
          <a:stretch/>
        </p:blipFill>
        <p:spPr>
          <a:xfrm>
            <a:off x="5193546" y="1213916"/>
            <a:ext cx="5588753" cy="324012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E104E191-0291-D532-10F7-27118D2B0E9A}"/>
              </a:ext>
            </a:extLst>
          </p:cNvPr>
          <p:cNvSpPr/>
          <p:nvPr/>
        </p:nvSpPr>
        <p:spPr>
          <a:xfrm>
            <a:off x="5233988" y="1239754"/>
            <a:ext cx="5588753" cy="1501833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195892B-8EBD-5C03-938B-64D36F1C17E5}"/>
              </a:ext>
            </a:extLst>
          </p:cNvPr>
          <p:cNvSpPr/>
          <p:nvPr/>
        </p:nvSpPr>
        <p:spPr>
          <a:xfrm>
            <a:off x="328612" y="1225465"/>
            <a:ext cx="3914775" cy="4855653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74D96B2E-96AB-C3F4-EE4D-11F66DA67434}"/>
              </a:ext>
            </a:extLst>
          </p:cNvPr>
          <p:cNvCxnSpPr>
            <a:cxnSpLocks/>
            <a:stCxn id="15" idx="1"/>
          </p:cNvCxnSpPr>
          <p:nvPr/>
        </p:nvCxnSpPr>
        <p:spPr>
          <a:xfrm flipH="1">
            <a:off x="4243387" y="1990671"/>
            <a:ext cx="990601" cy="0"/>
          </a:xfrm>
          <a:prstGeom prst="straightConnector1">
            <a:avLst/>
          </a:prstGeom>
          <a:ln w="571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306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B97374-499A-7147-9ED7-2E6F9EA903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bewahrung von </a:t>
            </a:r>
            <a:br>
              <a:rPr lang="de-DE" dirty="0"/>
            </a:br>
            <a:r>
              <a:rPr lang="de-DE" dirty="0"/>
              <a:t>Inhal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4C96BAE-6318-04BB-20B0-11C4933702E2}"/>
              </a:ext>
            </a:extLst>
          </p:cNvPr>
          <p:cNvSpPr/>
          <p:nvPr/>
        </p:nvSpPr>
        <p:spPr>
          <a:xfrm>
            <a:off x="508943" y="1403648"/>
            <a:ext cx="3568555" cy="77084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Microsoft 365 Grupp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7945B53-2ED5-6EB6-F492-FF7A14B7B340}"/>
              </a:ext>
            </a:extLst>
          </p:cNvPr>
          <p:cNvSpPr/>
          <p:nvPr/>
        </p:nvSpPr>
        <p:spPr>
          <a:xfrm>
            <a:off x="508943" y="2234318"/>
            <a:ext cx="3568554" cy="49298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Exchange Online Mailbox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F5889D0-660A-2CD8-719E-C27DF474805C}"/>
              </a:ext>
            </a:extLst>
          </p:cNvPr>
          <p:cNvSpPr/>
          <p:nvPr/>
        </p:nvSpPr>
        <p:spPr>
          <a:xfrm>
            <a:off x="508942" y="2787128"/>
            <a:ext cx="1738957" cy="13435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SharePoint Online Team Site</a:t>
            </a:r>
          </a:p>
          <a:p>
            <a:pPr algn="ctr"/>
            <a:endParaRPr lang="de-DE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6C889EA-5927-DBB3-9A4B-C64935AF6287}"/>
              </a:ext>
            </a:extLst>
          </p:cNvPr>
          <p:cNvSpPr/>
          <p:nvPr/>
        </p:nvSpPr>
        <p:spPr>
          <a:xfrm>
            <a:off x="430306" y="1343819"/>
            <a:ext cx="3723869" cy="4585494"/>
          </a:xfrm>
          <a:prstGeom prst="rect">
            <a:avLst/>
          </a:prstGeom>
          <a:noFill/>
          <a:ln w="57150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14B4132-E0FF-8BE8-145C-744A9CAEE1A8}"/>
              </a:ext>
            </a:extLst>
          </p:cNvPr>
          <p:cNvSpPr/>
          <p:nvPr/>
        </p:nvSpPr>
        <p:spPr>
          <a:xfrm>
            <a:off x="508943" y="4190533"/>
            <a:ext cx="1738956" cy="161772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Microsoft Teams</a:t>
            </a:r>
            <a:endParaRPr lang="de-DE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87D9C96-8B9F-AFEA-6C87-E0B2C4569D9C}"/>
              </a:ext>
            </a:extLst>
          </p:cNvPr>
          <p:cNvSpPr/>
          <p:nvPr/>
        </p:nvSpPr>
        <p:spPr>
          <a:xfrm>
            <a:off x="2326535" y="2787129"/>
            <a:ext cx="1738957" cy="641872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Team Site Standardkanä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AA74E6F-53C7-B9DD-AED2-100A47A29DF0}"/>
              </a:ext>
            </a:extLst>
          </p:cNvPr>
          <p:cNvSpPr/>
          <p:nvPr/>
        </p:nvSpPr>
        <p:spPr>
          <a:xfrm>
            <a:off x="2326534" y="3488830"/>
            <a:ext cx="1738957" cy="641872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Team Sites </a:t>
            </a:r>
            <a:b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priv./</a:t>
            </a:r>
            <a:r>
              <a:rPr lang="de-DE" sz="12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freigegeb</a:t>
            </a:r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b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Kanä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52E6DF8-29C3-3C58-2D5C-D12128DD8433}"/>
              </a:ext>
            </a:extLst>
          </p:cNvPr>
          <p:cNvSpPr/>
          <p:nvPr/>
        </p:nvSpPr>
        <p:spPr>
          <a:xfrm>
            <a:off x="2326533" y="4196908"/>
            <a:ext cx="1738957" cy="492980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Standard Kanä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121887B-2036-2741-2C88-5C429602BEB8}"/>
              </a:ext>
            </a:extLst>
          </p:cNvPr>
          <p:cNvSpPr/>
          <p:nvPr/>
        </p:nvSpPr>
        <p:spPr>
          <a:xfrm>
            <a:off x="2326532" y="4756094"/>
            <a:ext cx="1738957" cy="492980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Chat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8D31E09-17D0-6943-A947-D6E78DE4CC79}"/>
              </a:ext>
            </a:extLst>
          </p:cNvPr>
          <p:cNvSpPr/>
          <p:nvPr/>
        </p:nvSpPr>
        <p:spPr>
          <a:xfrm>
            <a:off x="2326532" y="5315280"/>
            <a:ext cx="1738957" cy="492980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Private Kanäle</a:t>
            </a:r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id="{4041F071-3D10-E946-7C80-33C1252D0E0E}"/>
              </a:ext>
            </a:extLst>
          </p:cNvPr>
          <p:cNvSpPr txBox="1">
            <a:spLocks/>
          </p:cNvSpPr>
          <p:nvPr/>
        </p:nvSpPr>
        <p:spPr>
          <a:xfrm>
            <a:off x="4811806" y="5105400"/>
            <a:ext cx="6871252" cy="23792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dirty="0"/>
              <a:t>Aufbewahrung für Gruppenpostfach und SharePoint Sites</a:t>
            </a:r>
          </a:p>
          <a:p>
            <a:pPr lvl="1"/>
            <a:r>
              <a:rPr lang="de-DE" sz="1800" dirty="0"/>
              <a:t>Exchange Postfach muss mindestens 10MB Daten enthalten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195892B-8EBD-5C03-938B-64D36F1C17E5}"/>
              </a:ext>
            </a:extLst>
          </p:cNvPr>
          <p:cNvSpPr/>
          <p:nvPr/>
        </p:nvSpPr>
        <p:spPr>
          <a:xfrm>
            <a:off x="328612" y="2174488"/>
            <a:ext cx="3914775" cy="2016046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74D96B2E-96AB-C3F4-EE4D-11F66DA67434}"/>
              </a:ext>
            </a:extLst>
          </p:cNvPr>
          <p:cNvCxnSpPr>
            <a:cxnSpLocks/>
            <a:stCxn id="15" idx="1"/>
          </p:cNvCxnSpPr>
          <p:nvPr/>
        </p:nvCxnSpPr>
        <p:spPr>
          <a:xfrm flipH="1">
            <a:off x="4243387" y="3809766"/>
            <a:ext cx="2120469" cy="0"/>
          </a:xfrm>
          <a:prstGeom prst="straightConnector1">
            <a:avLst/>
          </a:prstGeom>
          <a:ln w="571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86BB9709-BB3B-964B-6807-3CEC0C333A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574" t="29401" r="30038"/>
          <a:stretch/>
        </p:blipFill>
        <p:spPr>
          <a:xfrm>
            <a:off x="6326283" y="320670"/>
            <a:ext cx="5655591" cy="40882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E104E191-0291-D532-10F7-27118D2B0E9A}"/>
              </a:ext>
            </a:extLst>
          </p:cNvPr>
          <p:cNvSpPr/>
          <p:nvPr/>
        </p:nvSpPr>
        <p:spPr>
          <a:xfrm>
            <a:off x="6363856" y="3270872"/>
            <a:ext cx="5655591" cy="1077788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320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uiExpand="1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B97374-499A-7147-9ED7-2E6F9EA903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bewahrung von </a:t>
            </a:r>
            <a:br>
              <a:rPr lang="de-DE" dirty="0"/>
            </a:br>
            <a:r>
              <a:rPr lang="de-DE" dirty="0"/>
              <a:t>Inhal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4C96BAE-6318-04BB-20B0-11C4933702E2}"/>
              </a:ext>
            </a:extLst>
          </p:cNvPr>
          <p:cNvSpPr/>
          <p:nvPr/>
        </p:nvSpPr>
        <p:spPr>
          <a:xfrm>
            <a:off x="508943" y="1403648"/>
            <a:ext cx="3568555" cy="77084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Microsoft 365 Grupp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7945B53-2ED5-6EB6-F492-FF7A14B7B340}"/>
              </a:ext>
            </a:extLst>
          </p:cNvPr>
          <p:cNvSpPr/>
          <p:nvPr/>
        </p:nvSpPr>
        <p:spPr>
          <a:xfrm>
            <a:off x="508943" y="2234318"/>
            <a:ext cx="3568554" cy="49298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Exchange Online Mailbox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F5889D0-660A-2CD8-719E-C27DF474805C}"/>
              </a:ext>
            </a:extLst>
          </p:cNvPr>
          <p:cNvSpPr/>
          <p:nvPr/>
        </p:nvSpPr>
        <p:spPr>
          <a:xfrm>
            <a:off x="508942" y="2787128"/>
            <a:ext cx="1738957" cy="13435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SharePoint Online Team Site</a:t>
            </a:r>
          </a:p>
          <a:p>
            <a:pPr algn="ctr"/>
            <a:endParaRPr lang="de-DE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6C889EA-5927-DBB3-9A4B-C64935AF6287}"/>
              </a:ext>
            </a:extLst>
          </p:cNvPr>
          <p:cNvSpPr/>
          <p:nvPr/>
        </p:nvSpPr>
        <p:spPr>
          <a:xfrm>
            <a:off x="430306" y="1343819"/>
            <a:ext cx="3723869" cy="4585494"/>
          </a:xfrm>
          <a:prstGeom prst="rect">
            <a:avLst/>
          </a:prstGeom>
          <a:noFill/>
          <a:ln w="57150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14B4132-E0FF-8BE8-145C-744A9CAEE1A8}"/>
              </a:ext>
            </a:extLst>
          </p:cNvPr>
          <p:cNvSpPr/>
          <p:nvPr/>
        </p:nvSpPr>
        <p:spPr>
          <a:xfrm>
            <a:off x="508943" y="4190533"/>
            <a:ext cx="1738956" cy="161772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Microsoft Teams</a:t>
            </a:r>
            <a:endParaRPr lang="de-DE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87D9C96-8B9F-AFEA-6C87-E0B2C4569D9C}"/>
              </a:ext>
            </a:extLst>
          </p:cNvPr>
          <p:cNvSpPr/>
          <p:nvPr/>
        </p:nvSpPr>
        <p:spPr>
          <a:xfrm>
            <a:off x="2326535" y="2787129"/>
            <a:ext cx="1738957" cy="641872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Team Site Standardkanä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AA74E6F-53C7-B9DD-AED2-100A47A29DF0}"/>
              </a:ext>
            </a:extLst>
          </p:cNvPr>
          <p:cNvSpPr/>
          <p:nvPr/>
        </p:nvSpPr>
        <p:spPr>
          <a:xfrm>
            <a:off x="2326534" y="3488830"/>
            <a:ext cx="1738957" cy="641872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Team Sites </a:t>
            </a:r>
            <a:b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priv./</a:t>
            </a:r>
            <a:r>
              <a:rPr lang="de-DE" sz="12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freigegeb</a:t>
            </a:r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b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Kanä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52E6DF8-29C3-3C58-2D5C-D12128DD8433}"/>
              </a:ext>
            </a:extLst>
          </p:cNvPr>
          <p:cNvSpPr/>
          <p:nvPr/>
        </p:nvSpPr>
        <p:spPr>
          <a:xfrm>
            <a:off x="2326533" y="4196908"/>
            <a:ext cx="1738957" cy="492980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Standard Kanä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121887B-2036-2741-2C88-5C429602BEB8}"/>
              </a:ext>
            </a:extLst>
          </p:cNvPr>
          <p:cNvSpPr/>
          <p:nvPr/>
        </p:nvSpPr>
        <p:spPr>
          <a:xfrm>
            <a:off x="2326532" y="4756094"/>
            <a:ext cx="1738957" cy="492980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Chat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8D31E09-17D0-6943-A947-D6E78DE4CC79}"/>
              </a:ext>
            </a:extLst>
          </p:cNvPr>
          <p:cNvSpPr/>
          <p:nvPr/>
        </p:nvSpPr>
        <p:spPr>
          <a:xfrm>
            <a:off x="2326532" y="5315280"/>
            <a:ext cx="1738957" cy="492980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Private Kanäle</a:t>
            </a:r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id="{4041F071-3D10-E946-7C80-33C1252D0E0E}"/>
              </a:ext>
            </a:extLst>
          </p:cNvPr>
          <p:cNvSpPr txBox="1">
            <a:spLocks/>
          </p:cNvSpPr>
          <p:nvPr/>
        </p:nvSpPr>
        <p:spPr>
          <a:xfrm>
            <a:off x="7462982" y="1760653"/>
            <a:ext cx="4890942" cy="572400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dirty="0"/>
              <a:t>Teams-Kanalnachrichten und Chats unterliegen separater Aufbewahrungsrichtlinien</a:t>
            </a:r>
          </a:p>
          <a:p>
            <a:r>
              <a:rPr lang="de-DE" sz="2000" dirty="0"/>
              <a:t>Aufbewahrung von Teams-Kanalnachrichten und Teams-Chats kann in einer Richtlinie definiert</a:t>
            </a:r>
          </a:p>
          <a:p>
            <a:r>
              <a:rPr lang="de-DE" sz="2000" dirty="0"/>
              <a:t>Aufbewahrung von privaten Teams-Kanalnachrichten erfordert eine separate Richtlini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195892B-8EBD-5C03-938B-64D36F1C17E5}"/>
              </a:ext>
            </a:extLst>
          </p:cNvPr>
          <p:cNvSpPr/>
          <p:nvPr/>
        </p:nvSpPr>
        <p:spPr>
          <a:xfrm>
            <a:off x="2307480" y="4190531"/>
            <a:ext cx="1770018" cy="517933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74D96B2E-96AB-C3F4-EE4D-11F66DA67434}"/>
              </a:ext>
            </a:extLst>
          </p:cNvPr>
          <p:cNvCxnSpPr>
            <a:cxnSpLocks/>
            <a:stCxn id="15" idx="1"/>
            <a:endCxn id="16" idx="3"/>
          </p:cNvCxnSpPr>
          <p:nvPr/>
        </p:nvCxnSpPr>
        <p:spPr>
          <a:xfrm flipH="1">
            <a:off x="4077498" y="3997718"/>
            <a:ext cx="698712" cy="451780"/>
          </a:xfrm>
          <a:prstGeom prst="straightConnector1">
            <a:avLst/>
          </a:prstGeom>
          <a:ln w="571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3035EBD5-DBCA-C241-F4A8-91DC3C73953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002" r="58670"/>
          <a:stretch/>
        </p:blipFill>
        <p:spPr>
          <a:xfrm>
            <a:off x="4756295" y="2033517"/>
            <a:ext cx="2366698" cy="570223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7124A064-B893-94B0-EA3C-451FF24FCCF2}"/>
              </a:ext>
            </a:extLst>
          </p:cNvPr>
          <p:cNvSpPr/>
          <p:nvPr/>
        </p:nvSpPr>
        <p:spPr>
          <a:xfrm>
            <a:off x="2311292" y="4752905"/>
            <a:ext cx="1770018" cy="517933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1EB5AAC6-40E8-79FD-2D8C-4936526A1BF9}"/>
              </a:ext>
            </a:extLst>
          </p:cNvPr>
          <p:cNvSpPr/>
          <p:nvPr/>
        </p:nvSpPr>
        <p:spPr>
          <a:xfrm>
            <a:off x="2307480" y="5298161"/>
            <a:ext cx="1770018" cy="517933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104E191-0291-D532-10F7-27118D2B0E9A}"/>
              </a:ext>
            </a:extLst>
          </p:cNvPr>
          <p:cNvSpPr/>
          <p:nvPr/>
        </p:nvSpPr>
        <p:spPr>
          <a:xfrm>
            <a:off x="4776210" y="3690938"/>
            <a:ext cx="2346784" cy="613560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15320583-6750-0D8A-6BDF-EE9410786154}"/>
              </a:ext>
            </a:extLst>
          </p:cNvPr>
          <p:cNvSpPr/>
          <p:nvPr/>
        </p:nvSpPr>
        <p:spPr>
          <a:xfrm>
            <a:off x="4776210" y="4525636"/>
            <a:ext cx="2346784" cy="613560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FB40951-68C6-AB10-A308-38D43AD41DE7}"/>
              </a:ext>
            </a:extLst>
          </p:cNvPr>
          <p:cNvSpPr/>
          <p:nvPr/>
        </p:nvSpPr>
        <p:spPr>
          <a:xfrm>
            <a:off x="4766252" y="5413138"/>
            <a:ext cx="2346784" cy="613560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047D2F28-0163-4985-25D8-EEA4ACA6BCDE}"/>
              </a:ext>
            </a:extLst>
          </p:cNvPr>
          <p:cNvCxnSpPr>
            <a:cxnSpLocks/>
            <a:stCxn id="24" idx="1"/>
            <a:endCxn id="19" idx="3"/>
          </p:cNvCxnSpPr>
          <p:nvPr/>
        </p:nvCxnSpPr>
        <p:spPr>
          <a:xfrm flipH="1">
            <a:off x="4081310" y="4832416"/>
            <a:ext cx="694900" cy="179456"/>
          </a:xfrm>
          <a:prstGeom prst="straightConnector1">
            <a:avLst/>
          </a:prstGeom>
          <a:ln w="571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BCA24976-70EB-C928-5B54-33BE977679DC}"/>
              </a:ext>
            </a:extLst>
          </p:cNvPr>
          <p:cNvCxnSpPr>
            <a:cxnSpLocks/>
            <a:stCxn id="25" idx="1"/>
            <a:endCxn id="20" idx="3"/>
          </p:cNvCxnSpPr>
          <p:nvPr/>
        </p:nvCxnSpPr>
        <p:spPr>
          <a:xfrm flipH="1" flipV="1">
            <a:off x="4077498" y="5557128"/>
            <a:ext cx="688754" cy="162790"/>
          </a:xfrm>
          <a:prstGeom prst="straightConnector1">
            <a:avLst/>
          </a:prstGeom>
          <a:ln w="571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5000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uiExpand="1" build="p"/>
      <p:bldP spid="16" grpId="0" animBg="1"/>
      <p:bldP spid="19" grpId="0" animBg="1"/>
      <p:bldP spid="20" grpId="0" animBg="1"/>
      <p:bldP spid="15" grpId="0" animBg="1"/>
      <p:bldP spid="24" grpId="0" animBg="1"/>
      <p:bldP spid="25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0E8EAA7-76C4-4D2B-81CE-57CA4627D3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4140262-613E-47E0-8110-F2C2EDE2EF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038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60E18C0-014C-89F3-B41B-25F43E144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waltung von Microsoft 365 Gruppen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A89AA17-FB31-46D9-6734-7390C3EE91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de-DE" b="1" dirty="0"/>
              <a:t>Azure AD</a:t>
            </a:r>
          </a:p>
          <a:p>
            <a:r>
              <a:rPr lang="de-DE" dirty="0"/>
              <a:t>Steuerung des Verhaltens für das Gruppenzurückschreiben per Azure AD Connect</a:t>
            </a:r>
          </a:p>
          <a:p>
            <a:r>
              <a:rPr lang="de-DE" dirty="0"/>
              <a:t>Erstellung dynamischer Microsoft 365 Gruppen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b="1" dirty="0"/>
              <a:t>Exchange Online</a:t>
            </a:r>
          </a:p>
          <a:p>
            <a:r>
              <a:rPr lang="de-DE" dirty="0"/>
              <a:t>Alle relevanten Attribute einer Microsoft 365 Gruppe (</a:t>
            </a:r>
            <a:r>
              <a:rPr lang="de-DE" dirty="0">
                <a:sym typeface="Wingdings" panose="05000000000000000000" pitchFamily="2" charset="2"/>
              </a:rPr>
              <a:t> Empfängertyp: </a:t>
            </a:r>
            <a:r>
              <a:rPr lang="de-DE" b="1" dirty="0" err="1">
                <a:sym typeface="Wingdings" panose="05000000000000000000" pitchFamily="2" charset="2"/>
              </a:rPr>
              <a:t>UnfiedGroup</a:t>
            </a:r>
            <a:r>
              <a:rPr lang="de-DE" dirty="0">
                <a:sym typeface="Wingdings" panose="05000000000000000000" pitchFamily="2" charset="2"/>
              </a:rPr>
              <a:t>)</a:t>
            </a:r>
          </a:p>
          <a:p>
            <a:pPr lvl="1"/>
            <a:r>
              <a:rPr lang="en-US" dirty="0" err="1">
                <a:sym typeface="Wingdings" panose="05000000000000000000" pitchFamily="2" charset="2"/>
              </a:rPr>
              <a:t>RecipientType</a:t>
            </a:r>
            <a:r>
              <a:rPr lang="en-US" dirty="0">
                <a:sym typeface="Wingdings" panose="05000000000000000000" pitchFamily="2" charset="2"/>
              </a:rPr>
              <a:t>: </a:t>
            </a:r>
            <a:r>
              <a:rPr lang="en-US" b="1" dirty="0" err="1">
                <a:sym typeface="Wingdings" panose="05000000000000000000" pitchFamily="2" charset="2"/>
              </a:rPr>
              <a:t>MailUniversalDistributionGroup</a:t>
            </a:r>
            <a:endParaRPr lang="de-DE" b="1" dirty="0">
              <a:sym typeface="Wingdings" panose="05000000000000000000" pitchFamily="2" charset="2"/>
            </a:endParaRPr>
          </a:p>
          <a:p>
            <a:pPr lvl="1"/>
            <a:r>
              <a:rPr lang="de-DE" dirty="0" err="1">
                <a:sym typeface="Wingdings" panose="05000000000000000000" pitchFamily="2" charset="2"/>
              </a:rPr>
              <a:t>RecipientTypeDetails</a:t>
            </a:r>
            <a:r>
              <a:rPr lang="de-DE" dirty="0">
                <a:sym typeface="Wingdings" panose="05000000000000000000" pitchFamily="2" charset="2"/>
              </a:rPr>
              <a:t>: </a:t>
            </a:r>
            <a:r>
              <a:rPr lang="de-DE" b="1" dirty="0" err="1">
                <a:sym typeface="Wingdings" panose="05000000000000000000" pitchFamily="2" charset="2"/>
              </a:rPr>
              <a:t>GroupMailbox</a:t>
            </a:r>
            <a:endParaRPr lang="de-DE" b="1" dirty="0"/>
          </a:p>
          <a:p>
            <a:r>
              <a:rPr lang="de-DE" dirty="0"/>
              <a:t>E-Mail-Adressen</a:t>
            </a:r>
          </a:p>
          <a:p>
            <a:r>
              <a:rPr lang="de-DE" dirty="0"/>
              <a:t>Absenderkontrolle (nur authentifizierte Absender oder anonym)</a:t>
            </a:r>
          </a:p>
          <a:p>
            <a:r>
              <a:rPr lang="de-DE" dirty="0"/>
              <a:t>Senden-Als und Senden-im-Auftrag-von-Berechtigungen</a:t>
            </a:r>
          </a:p>
          <a:p>
            <a:r>
              <a:rPr lang="de-DE" dirty="0"/>
              <a:t>Sichtbarkeit im Adressbuch</a:t>
            </a:r>
          </a:p>
          <a:p>
            <a:r>
              <a:rPr lang="de-DE" dirty="0"/>
              <a:t>…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6251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4FAB37-A9DA-F97A-762B-295E60461D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365 Gruppen – Family </a:t>
            </a:r>
            <a:r>
              <a:rPr lang="de-DE" dirty="0" err="1"/>
              <a:t>Tree</a:t>
            </a:r>
            <a:r>
              <a:rPr lang="de-DE" dirty="0"/>
              <a:t>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1B018A1-4CB8-41D5-4EDF-9CDE264D0E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9324" y="1118529"/>
            <a:ext cx="11581003" cy="532576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91302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0A45DC-5C8C-D3E6-1441-B6383708DC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stellung von Microsoft 365 Grupp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54565BC-96D4-C695-63DA-93DA695B4A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inschränkung zur Erstellung von Microsoft 365 Gruppen ist möglich</a:t>
            </a:r>
          </a:p>
          <a:p>
            <a:pPr lvl="1"/>
            <a:r>
              <a:rPr lang="de-DE" dirty="0"/>
              <a:t>Konfiguration einer Sicherheitsgruppe mit Azure AD PowerShell</a:t>
            </a:r>
          </a:p>
          <a:p>
            <a:r>
              <a:rPr lang="de-DE" dirty="0"/>
              <a:t>Auswirkungen auf</a:t>
            </a:r>
          </a:p>
          <a:p>
            <a:pPr lvl="1"/>
            <a:r>
              <a:rPr lang="de-DE" dirty="0"/>
              <a:t>Erstellung von Microsoft 365 im Self-Service für Outlook, SharePoint, Yammer, Microsoft Teams, Microsoft Stream, Planner, Power BI (classic), Project </a:t>
            </a:r>
            <a:r>
              <a:rPr lang="de-DE" dirty="0" err="1"/>
              <a:t>for</a:t>
            </a:r>
            <a:r>
              <a:rPr lang="de-DE" dirty="0"/>
              <a:t> the web</a:t>
            </a:r>
          </a:p>
          <a:p>
            <a:r>
              <a:rPr lang="de-DE" dirty="0"/>
              <a:t>Dynamische Microsoft 365 Gruppen können nur in Azure AD erstellt werden</a:t>
            </a:r>
          </a:p>
          <a:p>
            <a:pPr lvl="1"/>
            <a:r>
              <a:rPr lang="de-DE" dirty="0"/>
              <a:t>Fest definierte Gruppeneigentümer</a:t>
            </a:r>
          </a:p>
          <a:p>
            <a:pPr lvl="1"/>
            <a:r>
              <a:rPr lang="de-DE" dirty="0"/>
              <a:t>Regelbasierte dynamische Mitgliedschaft</a:t>
            </a:r>
          </a:p>
          <a:p>
            <a:r>
              <a:rPr lang="de-DE" dirty="0"/>
              <a:t>Das erstellende Benutzerkonto definiert die Parameterwerte der Benennungsrichtlinie</a:t>
            </a:r>
          </a:p>
          <a:p>
            <a:pPr lvl="1"/>
            <a:r>
              <a:rPr lang="de-DE" dirty="0"/>
              <a:t>Abteilung, Unternehmen, Büro, Land, Bundesland, Titel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0075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B0F36BD-82D1-4B5F-9500-391DE0918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365 Gruppen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3FEEF1C-5D0F-4F05-8367-A0031B650FD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0306" y="1825625"/>
            <a:ext cx="5665694" cy="4351338"/>
          </a:xfrm>
        </p:spPr>
        <p:txBody>
          <a:bodyPr/>
          <a:lstStyle/>
          <a:p>
            <a:r>
              <a:rPr lang="de-DE" dirty="0"/>
              <a:t>Sind zentraler Baustein der Kollaborationsplattform von Microsoft 365</a:t>
            </a:r>
          </a:p>
          <a:p>
            <a:r>
              <a:rPr lang="de-DE" dirty="0"/>
              <a:t>Sie interagieren mit Microsoft Teams, Yammer, Outlook, SharePoint, Planner, …</a:t>
            </a:r>
          </a:p>
          <a:p>
            <a:r>
              <a:rPr lang="de-DE" dirty="0"/>
              <a:t>Sie definieren Datencontainer für die Security &amp; Compliance Integration</a:t>
            </a:r>
          </a:p>
          <a:p>
            <a:pPr lvl="1"/>
            <a:r>
              <a:rPr lang="de-DE" dirty="0"/>
              <a:t>Datenklassifizierung, Aufbewahrung, eDiscovery</a:t>
            </a:r>
          </a:p>
          <a:p>
            <a:r>
              <a:rPr lang="de-DE" dirty="0"/>
              <a:t>Unterstützt die Zuweisung von administrativen Microsoft 365 Rollen </a:t>
            </a:r>
          </a:p>
          <a:p>
            <a:endParaRPr lang="de-DE" dirty="0"/>
          </a:p>
          <a:p>
            <a:endParaRPr lang="de-DE" dirty="0"/>
          </a:p>
        </p:txBody>
      </p:sp>
      <p:pic>
        <p:nvPicPr>
          <p:cNvPr id="6" name="Picture 2" descr="See the source image">
            <a:extLst>
              <a:ext uri="{FF2B5EF4-FFF2-40B4-BE49-F238E27FC236}">
                <a16:creationId xmlns:a16="http://schemas.microsoft.com/office/drawing/2014/main" id="{25050F78-91DA-289F-A22C-8398EAB1F9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13"/>
          <a:stretch/>
        </p:blipFill>
        <p:spPr bwMode="auto">
          <a:xfrm>
            <a:off x="6096000" y="187023"/>
            <a:ext cx="5748518" cy="2610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Diagram 3">
            <a:extLst>
              <a:ext uri="{FF2B5EF4-FFF2-40B4-BE49-F238E27FC236}">
                <a16:creationId xmlns:a16="http://schemas.microsoft.com/office/drawing/2014/main" id="{8D47D7D1-41DB-C31B-D4D9-7D316E67AC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5466843"/>
              </p:ext>
            </p:extLst>
          </p:nvPr>
        </p:nvGraphicFramePr>
        <p:xfrm>
          <a:off x="6443482" y="3061216"/>
          <a:ext cx="5535791" cy="36097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68352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2D4AC8-4F12-FC22-E837-0AAC1EB74B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stellung von Gruppen in Microsoft 365</a:t>
            </a:r>
          </a:p>
        </p:txBody>
      </p:sp>
      <p:graphicFrame>
        <p:nvGraphicFramePr>
          <p:cNvPr id="4" name="Tabelle 5">
            <a:extLst>
              <a:ext uri="{FF2B5EF4-FFF2-40B4-BE49-F238E27FC236}">
                <a16:creationId xmlns:a16="http://schemas.microsoft.com/office/drawing/2014/main" id="{1B07F49A-815D-4A77-7BBE-4A5EB4EB50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25818645"/>
              </p:ext>
            </p:extLst>
          </p:nvPr>
        </p:nvGraphicFramePr>
        <p:xfrm>
          <a:off x="549422" y="1600959"/>
          <a:ext cx="11253255" cy="50344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0651">
                  <a:extLst>
                    <a:ext uri="{9D8B030D-6E8A-4147-A177-3AD203B41FA5}">
                      <a16:colId xmlns:a16="http://schemas.microsoft.com/office/drawing/2014/main" val="1598868585"/>
                    </a:ext>
                  </a:extLst>
                </a:gridCol>
                <a:gridCol w="2250651">
                  <a:extLst>
                    <a:ext uri="{9D8B030D-6E8A-4147-A177-3AD203B41FA5}">
                      <a16:colId xmlns:a16="http://schemas.microsoft.com/office/drawing/2014/main" val="1424970127"/>
                    </a:ext>
                  </a:extLst>
                </a:gridCol>
                <a:gridCol w="2250651">
                  <a:extLst>
                    <a:ext uri="{9D8B030D-6E8A-4147-A177-3AD203B41FA5}">
                      <a16:colId xmlns:a16="http://schemas.microsoft.com/office/drawing/2014/main" val="939728841"/>
                    </a:ext>
                  </a:extLst>
                </a:gridCol>
                <a:gridCol w="2250651">
                  <a:extLst>
                    <a:ext uri="{9D8B030D-6E8A-4147-A177-3AD203B41FA5}">
                      <a16:colId xmlns:a16="http://schemas.microsoft.com/office/drawing/2014/main" val="3651546128"/>
                    </a:ext>
                  </a:extLst>
                </a:gridCol>
                <a:gridCol w="2250651">
                  <a:extLst>
                    <a:ext uri="{9D8B030D-6E8A-4147-A177-3AD203B41FA5}">
                      <a16:colId xmlns:a16="http://schemas.microsoft.com/office/drawing/2014/main" val="198991634"/>
                    </a:ext>
                  </a:extLst>
                </a:gridCol>
              </a:tblGrid>
              <a:tr h="510811">
                <a:tc>
                  <a:txBody>
                    <a:bodyPr/>
                    <a:lstStyle/>
                    <a:p>
                      <a:r>
                        <a:rPr lang="de-DE" sz="1600" dirty="0"/>
                        <a:t>Sicherheitsgrupp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Microsoft 365 Grup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E-Mail-aktivierte Sicherheitsgrup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Verteilergrup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Freigegebenes Postfa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0418772"/>
                  </a:ext>
                </a:extLst>
              </a:tr>
              <a:tr h="371274">
                <a:tc gridSpan="2">
                  <a:txBody>
                    <a:bodyPr/>
                    <a:lstStyle/>
                    <a:p>
                      <a:pPr algn="ctr"/>
                      <a:r>
                        <a:rPr lang="de-DE" sz="1600" b="1" i="0"/>
                        <a:t>Azure AD</a:t>
                      </a:r>
                      <a:endParaRPr lang="de-DE" sz="1600" b="0" i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1542629"/>
                  </a:ext>
                </a:extLst>
              </a:tr>
              <a:tr h="371274">
                <a:tc gridSpan="5">
                  <a:txBody>
                    <a:bodyPr/>
                    <a:lstStyle/>
                    <a:p>
                      <a:pPr algn="ctr"/>
                      <a:r>
                        <a:rPr lang="de-DE" sz="1600" b="1"/>
                        <a:t>Microsoft 365 Admin Cent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0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0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0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0561352"/>
                  </a:ext>
                </a:extLst>
              </a:tr>
              <a:tr h="371274"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1" dirty="0"/>
                        <a:t>Exchange Online Admin Cent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0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0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66529"/>
                  </a:ext>
                </a:extLst>
              </a:tr>
              <a:tr h="371274"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/>
                        <a:t>Outloo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4025860"/>
                  </a:ext>
                </a:extLst>
              </a:tr>
              <a:tr h="371274"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/>
                        <a:t>Tea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7931500"/>
                  </a:ext>
                </a:extLst>
              </a:tr>
              <a:tr h="371274"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/>
                        <a:t>SharePoi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0984843"/>
                  </a:ext>
                </a:extLst>
              </a:tr>
              <a:tr h="371274"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/>
                        <a:t>Plan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5138202"/>
                  </a:ext>
                </a:extLst>
              </a:tr>
              <a:tr h="371274"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/>
                        <a:t>Yamm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3010029"/>
                  </a:ext>
                </a:extLst>
              </a:tr>
              <a:tr h="371274"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/>
                        <a:t>Str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066283"/>
                  </a:ext>
                </a:extLst>
              </a:tr>
              <a:tr h="371274"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/>
                        <a:t>Power BI (classi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3466244"/>
                  </a:ext>
                </a:extLst>
              </a:tr>
              <a:tr h="371274"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/>
                        <a:t>Roadmap (Projec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854267"/>
                  </a:ext>
                </a:extLst>
              </a:tr>
              <a:tr h="371274"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/>
                        <a:t>Project </a:t>
                      </a:r>
                      <a:r>
                        <a:rPr lang="de-DE" sz="1600" b="1" err="1"/>
                        <a:t>for</a:t>
                      </a:r>
                      <a:r>
                        <a:rPr lang="de-DE" sz="1600" b="1"/>
                        <a:t> the We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67535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3262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DDA28E-B774-908C-A285-CD729A339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dministrative Roll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B14DE9-5D03-3D85-D28E-30A9701D5B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Globaler Administrator</a:t>
            </a:r>
          </a:p>
          <a:p>
            <a:r>
              <a:rPr lang="de-DE" dirty="0"/>
              <a:t>Benutzeradministrator</a:t>
            </a:r>
          </a:p>
          <a:p>
            <a:r>
              <a:rPr lang="de-DE" dirty="0"/>
              <a:t>Exchange Administrator</a:t>
            </a:r>
          </a:p>
          <a:p>
            <a:r>
              <a:rPr lang="de-DE" dirty="0"/>
              <a:t>SharePoint Administrator</a:t>
            </a:r>
          </a:p>
          <a:p>
            <a:r>
              <a:rPr lang="de-DE" dirty="0"/>
              <a:t>Teams Administrator</a:t>
            </a:r>
          </a:p>
          <a:p>
            <a:r>
              <a:rPr lang="de-DE" dirty="0"/>
              <a:t>Compliance Administrator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Fragen für eure IT-Umgebung</a:t>
            </a:r>
          </a:p>
          <a:p>
            <a:r>
              <a:rPr lang="de-DE" dirty="0"/>
              <a:t>Welche Personengruppen administrieren welche Aspekte einer Microsoft 365 Gruppe?</a:t>
            </a:r>
          </a:p>
          <a:p>
            <a:r>
              <a:rPr lang="de-DE" dirty="0"/>
              <a:t>Gibt es nur einen "Service </a:t>
            </a:r>
            <a:r>
              <a:rPr lang="de-DE" dirty="0" err="1"/>
              <a:t>Owner</a:t>
            </a:r>
            <a:r>
              <a:rPr lang="de-DE" dirty="0"/>
              <a:t>" für Microsoft 365 Gruppen?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1195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DDA28E-B774-908C-A285-CD729A339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365 Gruppen - Governanc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B14DE9-5D03-3D85-D28E-30A9701D5B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Nutzung von Vertraulichkeitsbezeichnungen</a:t>
            </a:r>
          </a:p>
          <a:p>
            <a:pPr lvl="1"/>
            <a:r>
              <a:rPr lang="de-DE" dirty="0"/>
              <a:t>Steuerung von möglichen Freigaben an externe Gäste</a:t>
            </a:r>
          </a:p>
          <a:p>
            <a:pPr lvl="1"/>
            <a:r>
              <a:rPr lang="de-DE" dirty="0"/>
              <a:t>Kontrolle über das Hinzufügen externer </a:t>
            </a:r>
            <a:r>
              <a:rPr lang="de-DE" dirty="0" err="1"/>
              <a:t>Gasvarunagrouponten</a:t>
            </a:r>
            <a:r>
              <a:rPr lang="de-DE" dirty="0"/>
              <a:t> in die Gruppe</a:t>
            </a:r>
          </a:p>
          <a:p>
            <a:r>
              <a:rPr lang="de-DE" dirty="0"/>
              <a:t>Ablaufrichtlinie zur Steuerung des Gruppen-Lebenszyklus</a:t>
            </a:r>
          </a:p>
          <a:p>
            <a:r>
              <a:rPr lang="de-DE" dirty="0"/>
              <a:t>Benennungsrichtlinie bei Erstellung über Microsoft 365 Dienste</a:t>
            </a:r>
          </a:p>
          <a:p>
            <a:r>
              <a:rPr lang="de-DE" dirty="0"/>
              <a:t>Fallback bei fehlenden Gruppen-Eigentümern </a:t>
            </a:r>
          </a:p>
          <a:p>
            <a:r>
              <a:rPr lang="de-DE" dirty="0"/>
              <a:t>Exchange Online E-Mail-Adressrichtlinie kontrolliert die E-Mail-Adresse für automatisch erstellte Microsoft 365 Gruppen</a:t>
            </a:r>
          </a:p>
          <a:p>
            <a:r>
              <a:rPr lang="de-DE" dirty="0"/>
              <a:t>Detaillierte Governance-Anforderungen erfordern eine Tool-basierte Lösung</a:t>
            </a:r>
          </a:p>
          <a:p>
            <a:pPr lvl="1"/>
            <a:r>
              <a:rPr lang="de-DE" dirty="0"/>
              <a:t>Begrüßungsnachricht, Ablauf, Archivierung, Berichterstellung, Spracheinstellungen, …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1883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DDA28E-B774-908C-A285-CD729A339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Teams – Archivieren oder Löschen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B14DE9-5D03-3D85-D28E-30A9701D5B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Archivieren</a:t>
            </a:r>
            <a:r>
              <a:rPr lang="de-DE" dirty="0"/>
              <a:t> (Microsoft 365 nativ)</a:t>
            </a:r>
          </a:p>
          <a:p>
            <a:r>
              <a:rPr lang="de-DE" dirty="0"/>
              <a:t>Aktive Nutzung des Teams, inkl. privater und geteilter Kanäle, wird beendet</a:t>
            </a:r>
          </a:p>
          <a:p>
            <a:r>
              <a:rPr lang="de-DE" dirty="0"/>
              <a:t>Alle Teamaktivitäten in Kanälen, Dateien und Chats werden weiterhin angezeigt</a:t>
            </a:r>
          </a:p>
          <a:p>
            <a:r>
              <a:rPr lang="de-DE" dirty="0"/>
              <a:t>Optional kann der Zugriff auf SharePoint Online Ressourcen auf "Nur Lesen" gesetzt werden</a:t>
            </a:r>
          </a:p>
          <a:p>
            <a:r>
              <a:rPr lang="de-DE" dirty="0"/>
              <a:t>Teameigentümer und Administratoren können ein Team archivieren und wiederherstellen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b="1" dirty="0"/>
              <a:t>Löschen</a:t>
            </a:r>
          </a:p>
          <a:p>
            <a:r>
              <a:rPr lang="de-DE" dirty="0"/>
              <a:t>Löschung der Microsoft 365 Gruppe und der verbundenen Datencontainer (SharePoint, Exchange Online)</a:t>
            </a:r>
          </a:p>
          <a:p>
            <a:r>
              <a:rPr lang="de-DE" dirty="0"/>
              <a:t>Frist zur Wiederherstellung: 30 Tage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6181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A906E5-B2AB-B142-6653-84194618EF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365 Spracheinstellungen 1/3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7AA88A-6147-8534-6A2C-B94520D3F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Microsoft 365 Gruppe</a:t>
            </a:r>
          </a:p>
          <a:p>
            <a:r>
              <a:rPr lang="de-DE" dirty="0"/>
              <a:t>Language-Parameter (</a:t>
            </a:r>
            <a:r>
              <a:rPr lang="de-DE" dirty="0" err="1"/>
              <a:t>UnifiedGroup</a:t>
            </a:r>
            <a:r>
              <a:rPr lang="de-DE" dirty="0"/>
              <a:t>-Parameter)</a:t>
            </a:r>
          </a:p>
          <a:p>
            <a:r>
              <a:rPr lang="de-DE" dirty="0" err="1"/>
              <a:t>Erstellerkonto</a:t>
            </a:r>
            <a:r>
              <a:rPr lang="de-DE" dirty="0"/>
              <a:t> definiert die Spracheinstellung der Gruppe</a:t>
            </a:r>
          </a:p>
          <a:p>
            <a:r>
              <a:rPr lang="de-DE" dirty="0"/>
              <a:t>Parameter ist Read-Only in MS Graph</a:t>
            </a:r>
          </a:p>
          <a:p>
            <a:r>
              <a:rPr lang="de-DE" dirty="0"/>
              <a:t>Parameter kann nur per Exchange Online-PowerShell gesetzt werden</a:t>
            </a:r>
          </a:p>
          <a:p>
            <a:r>
              <a:rPr lang="de-DE" dirty="0"/>
              <a:t>PNP-Cmdlets unterstützen den Parameter nicht</a:t>
            </a:r>
          </a:p>
          <a:p>
            <a:endParaRPr lang="de-DE" dirty="0"/>
          </a:p>
          <a:p>
            <a:pPr>
              <a:buFont typeface="Wingdings" panose="05000000000000000000" pitchFamily="2" charset="2"/>
              <a:buChar char="à"/>
            </a:pPr>
            <a:r>
              <a:rPr lang="de-DE" dirty="0"/>
              <a:t>Definierte Spracheinstellung einer Microsoft 365 Gruppe muss per </a:t>
            </a:r>
            <a:r>
              <a:rPr lang="de-DE" dirty="0" err="1"/>
              <a:t>Provisionierungsprozess</a:t>
            </a:r>
            <a:r>
              <a:rPr lang="de-DE" dirty="0"/>
              <a:t> gesetzt werden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9816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A906E5-B2AB-B142-6653-84194618EF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365 Spracheinstellungen 2/3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7AA88A-6147-8534-6A2C-B94520D3F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Microsoft Teams</a:t>
            </a:r>
          </a:p>
          <a:p>
            <a:r>
              <a:rPr lang="de-DE" dirty="0"/>
              <a:t>Individuelle Spracheinstellung im Teams-Client </a:t>
            </a:r>
          </a:p>
          <a:p>
            <a:r>
              <a:rPr lang="de-DE" dirty="0"/>
              <a:t>Erste Sprachauswahl erfolgt auf Basis der Sprache des </a:t>
            </a:r>
            <a:r>
              <a:rPr lang="de-DE" dirty="0" err="1"/>
              <a:t>Betiebssystems</a:t>
            </a:r>
            <a:endParaRPr lang="de-DE" dirty="0"/>
          </a:p>
          <a:p>
            <a:r>
              <a:rPr lang="de-DE" dirty="0"/>
              <a:t>Sprachvariante des Teams-Einladungstextes kann zentral mit mehr als einer Sprache vorgegeben werde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8122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A906E5-B2AB-B142-6653-84194618EF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365 Spracheinstellungen 3/3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7AA88A-6147-8534-6A2C-B94520D3F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Benutzerkonto</a:t>
            </a:r>
          </a:p>
          <a:p>
            <a:r>
              <a:rPr lang="de-DE" dirty="0" err="1"/>
              <a:t>UsageLocation</a:t>
            </a:r>
            <a:endParaRPr lang="de-DE" dirty="0"/>
          </a:p>
          <a:p>
            <a:r>
              <a:rPr lang="de-DE" dirty="0" err="1"/>
              <a:t>PreferredLanguage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bevorzugter Parameter</a:t>
            </a:r>
          </a:p>
          <a:p>
            <a:pPr marL="0" indent="0">
              <a:buNone/>
            </a:pPr>
            <a:r>
              <a:rPr lang="de-DE" b="1" dirty="0"/>
              <a:t>Exchange Online Mailbox</a:t>
            </a:r>
          </a:p>
          <a:p>
            <a:r>
              <a:rPr lang="de-DE" dirty="0" err="1"/>
              <a:t>MailboxRegionalSettings</a:t>
            </a:r>
            <a:endParaRPr lang="de-DE" dirty="0"/>
          </a:p>
          <a:p>
            <a:r>
              <a:rPr lang="de-DE" dirty="0"/>
              <a:t>Sprachvariante der installierten Office-Installation entscheidet z.B. über Nachrichtenpräfixe ("Re:" / "</a:t>
            </a:r>
            <a:r>
              <a:rPr lang="de-DE" dirty="0" err="1"/>
              <a:t>Aw</a:t>
            </a:r>
            <a:r>
              <a:rPr lang="de-DE" dirty="0"/>
              <a:t>:")</a:t>
            </a:r>
          </a:p>
          <a:p>
            <a:pPr marL="0" indent="0">
              <a:buNone/>
            </a:pPr>
            <a:r>
              <a:rPr lang="de-DE" b="1" dirty="0"/>
              <a:t>Tenant</a:t>
            </a:r>
          </a:p>
          <a:p>
            <a:r>
              <a:rPr lang="de-DE" dirty="0"/>
              <a:t>Azure nutzt die Spracheinstellung des Mandanten für Benachrichtigungen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3061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0E8EAA7-76C4-4D2B-81CE-57CA4627D3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utzungsszenari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4140262-613E-47E0-8110-F2C2EDE2EF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1758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CA0FA89-0B05-91AB-4D1D-A0556D78BB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uppenarten in Microsoft 365</a:t>
            </a:r>
          </a:p>
        </p:txBody>
      </p:sp>
      <p:graphicFrame>
        <p:nvGraphicFramePr>
          <p:cNvPr id="5" name="Diagram 3">
            <a:extLst>
              <a:ext uri="{FF2B5EF4-FFF2-40B4-BE49-F238E27FC236}">
                <a16:creationId xmlns:a16="http://schemas.microsoft.com/office/drawing/2014/main" id="{82564FF9-6C5F-C7D3-8D19-4299636F98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13796050"/>
              </p:ext>
            </p:extLst>
          </p:nvPr>
        </p:nvGraphicFramePr>
        <p:xfrm>
          <a:off x="503238" y="1216813"/>
          <a:ext cx="11079162" cy="50362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10960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17C0457-4105-7E41-8990-657F71B8C2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dgm id="{117C0457-4105-7E41-8990-657F71B8C27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046C4FC-0B95-C640-B6D4-0A647C4122F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graphicEl>
                                              <a:dgm id="{4046C4FC-0B95-C640-B6D4-0A647C4122F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F85A6D5-AC56-47B9-AE74-C92AA41B1F5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graphicEl>
                                              <a:dgm id="{5F85A6D5-AC56-47B9-AE74-C92AA41B1F5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58EDD88-C16A-47C6-8308-6026BD49CB4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graphicEl>
                                              <a:dgm id="{458EDD88-C16A-47C6-8308-6026BD49CB4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88AF5E3-45D9-7746-B5C7-913B0EA6868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>
                                            <p:graphicEl>
                                              <a:dgm id="{588AF5E3-45D9-7746-B5C7-913B0EA6868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A701B83-6950-2146-9658-FC4BC261929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>
                                            <p:graphicEl>
                                              <a:dgm id="{5A701B83-6950-2146-9658-FC4BC261929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7D2D860-5E02-4BE3-B8AC-6FF36333CD8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graphicEl>
                                              <a:dgm id="{17D2D860-5E02-4BE3-B8AC-6FF36333CD8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205FEF3-C259-4E89-BF06-F316177B200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graphicEl>
                                              <a:dgm id="{C205FEF3-C259-4E89-BF06-F316177B200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0EDDE44-A06E-4931-A819-03E73611E5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">
                                            <p:graphicEl>
                                              <a:dgm id="{20EDDE44-A06E-4931-A819-03E73611E52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6954BBF-B09E-458E-A42A-20FE2A9926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">
                                            <p:graphicEl>
                                              <a:dgm id="{76954BBF-B09E-458E-A42A-20FE2A99263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F7C0B6D-67FB-6E4F-BD32-0B13CA04E13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">
                                            <p:graphicEl>
                                              <a:dgm id="{7F7C0B6D-67FB-6E4F-BD32-0B13CA04E13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FF3DA0C-DFE2-AF40-9856-A5CFDBB976C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5">
                                            <p:graphicEl>
                                              <a:dgm id="{BFF3DA0C-DFE2-AF40-9856-A5CFDBB976C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000"/>
                            </p:stCondLst>
                            <p:childTnLst>
                              <p:par>
                                <p:cTn id="5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0E7F83C-6AD1-4AA7-9E7E-A5A75DCA7BA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">
                                            <p:graphicEl>
                                              <a:dgm id="{B0E7F83C-6AD1-4AA7-9E7E-A5A75DCA7BA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28AE84D-D978-461D-A4F4-ACDC17F06DF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">
                                            <p:graphicEl>
                                              <a:dgm id="{428AE84D-D978-461D-A4F4-ACDC17F06DF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39F1A3D-298C-456F-A63D-E86B8BB1D3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">
                                            <p:graphicEl>
                                              <a:dgm id="{C39F1A3D-298C-456F-A63D-E86B8BB1D3E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0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22948D0-11A2-4EAF-BE9A-0A9B6706143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5">
                                            <p:graphicEl>
                                              <a:dgm id="{122948D0-11A2-4EAF-BE9A-0A9B6706143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5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71AE3A5-1DFC-43CD-A81F-1448D93A85F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">
                                            <p:graphicEl>
                                              <a:dgm id="{171AE3A5-1DFC-43CD-A81F-1448D93A85F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one"/>
        </p:bldSub>
      </p:bldGraphic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310071-21CB-6FFE-418B-84DA79373E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uppen in Microsoft 365 nach Verwendungszweck</a:t>
            </a:r>
          </a:p>
        </p:txBody>
      </p:sp>
      <p:graphicFrame>
        <p:nvGraphicFramePr>
          <p:cNvPr id="3" name="Inhaltsplatzhalter 4">
            <a:extLst>
              <a:ext uri="{FF2B5EF4-FFF2-40B4-BE49-F238E27FC236}">
                <a16:creationId xmlns:a16="http://schemas.microsoft.com/office/drawing/2014/main" id="{39C6A763-5583-2CAD-B1B1-DD6F3C2AED7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2723635"/>
              </p:ext>
            </p:extLst>
          </p:nvPr>
        </p:nvGraphicFramePr>
        <p:xfrm>
          <a:off x="1340711" y="1475456"/>
          <a:ext cx="9798563" cy="48239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7AF4122E-C94D-BB83-39B4-3CAA2D8B751E}"/>
              </a:ext>
            </a:extLst>
          </p:cNvPr>
          <p:cNvSpPr txBox="1"/>
          <p:nvPr/>
        </p:nvSpPr>
        <p:spPr>
          <a:xfrm>
            <a:off x="4856016" y="2766913"/>
            <a:ext cx="1990352" cy="535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1400" b="1" dirty="0"/>
              <a:t>Moderne Zusammenarbeit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AFA734F-1052-FBBE-C9FC-3C6C4856CD97}"/>
              </a:ext>
            </a:extLst>
          </p:cNvPr>
          <p:cNvSpPr txBox="1"/>
          <p:nvPr/>
        </p:nvSpPr>
        <p:spPr>
          <a:xfrm>
            <a:off x="3161344" y="1671319"/>
            <a:ext cx="1891395" cy="309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1400" b="1" dirty="0"/>
              <a:t>Kommunikatio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3870874-0B5E-0F96-8CCA-5C3761BE1C99}"/>
              </a:ext>
            </a:extLst>
          </p:cNvPr>
          <p:cNvSpPr txBox="1"/>
          <p:nvPr/>
        </p:nvSpPr>
        <p:spPr>
          <a:xfrm>
            <a:off x="7259630" y="1672312"/>
            <a:ext cx="1891395" cy="309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1400" b="1" dirty="0"/>
              <a:t>Berechtigung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A1AB9A7-1F6C-D299-93AB-092D07F3F761}"/>
              </a:ext>
            </a:extLst>
          </p:cNvPr>
          <p:cNvSpPr txBox="1"/>
          <p:nvPr/>
        </p:nvSpPr>
        <p:spPr>
          <a:xfrm>
            <a:off x="1947915" y="2646586"/>
            <a:ext cx="1891395" cy="247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1000" b="1" dirty="0"/>
              <a:t>Verteilergrupp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C431B99-4C6A-3AE0-27D1-C63FEB283915}"/>
              </a:ext>
            </a:extLst>
          </p:cNvPr>
          <p:cNvSpPr txBox="1"/>
          <p:nvPr/>
        </p:nvSpPr>
        <p:spPr>
          <a:xfrm>
            <a:off x="1511805" y="3482648"/>
            <a:ext cx="1891395" cy="247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1000" b="1" i="1" dirty="0"/>
              <a:t>Freigegebenes Postfach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AC6A779-12CB-5043-1D3D-C5AF9A874014}"/>
              </a:ext>
            </a:extLst>
          </p:cNvPr>
          <p:cNvSpPr txBox="1"/>
          <p:nvPr/>
        </p:nvSpPr>
        <p:spPr>
          <a:xfrm>
            <a:off x="1853535" y="4629846"/>
            <a:ext cx="1891395" cy="247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1000" b="1" dirty="0"/>
              <a:t>Dynamische Verteilergrupp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55DDC62-0BDD-3140-CC8D-D4F2EC459DD3}"/>
              </a:ext>
            </a:extLst>
          </p:cNvPr>
          <p:cNvSpPr txBox="1"/>
          <p:nvPr/>
        </p:nvSpPr>
        <p:spPr>
          <a:xfrm>
            <a:off x="4956267" y="3747029"/>
            <a:ext cx="2124709" cy="247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1000" b="1" dirty="0"/>
              <a:t>Microsoft 365 Grupp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AEBE701-BEA2-2BF7-6D78-871085583B38}"/>
              </a:ext>
            </a:extLst>
          </p:cNvPr>
          <p:cNvSpPr txBox="1"/>
          <p:nvPr/>
        </p:nvSpPr>
        <p:spPr>
          <a:xfrm>
            <a:off x="5052739" y="4629846"/>
            <a:ext cx="1990352" cy="408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1000" b="1" dirty="0"/>
              <a:t>Dynamische </a:t>
            </a:r>
            <a:br>
              <a:rPr lang="de-DE" sz="1000" b="1" dirty="0"/>
            </a:br>
            <a:r>
              <a:rPr lang="de-DE" sz="1000" b="1" dirty="0"/>
              <a:t>Microsoft 365 Grupp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2A30C04-9906-7A89-A2EC-60288510BA7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456" y="3606336"/>
            <a:ext cx="1331597" cy="1331597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280903A5-4D75-A38A-BD61-1D8DEE7FC193}"/>
              </a:ext>
            </a:extLst>
          </p:cNvPr>
          <p:cNvSpPr txBox="1"/>
          <p:nvPr/>
        </p:nvSpPr>
        <p:spPr>
          <a:xfrm>
            <a:off x="8264056" y="2915422"/>
            <a:ext cx="1891395" cy="247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1000" b="1" dirty="0"/>
              <a:t>Sicherheitsgrupp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0850A88-3F01-F9B0-737A-EB8C611674AE}"/>
              </a:ext>
            </a:extLst>
          </p:cNvPr>
          <p:cNvSpPr txBox="1"/>
          <p:nvPr/>
        </p:nvSpPr>
        <p:spPr>
          <a:xfrm>
            <a:off x="8350900" y="4629846"/>
            <a:ext cx="1891395" cy="247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1000" b="1"/>
              <a:t>Dynamische Sicherheitsgrupp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CD15319-50FE-026C-1892-5033B47D3855}"/>
              </a:ext>
            </a:extLst>
          </p:cNvPr>
          <p:cNvSpPr txBox="1"/>
          <p:nvPr/>
        </p:nvSpPr>
        <p:spPr>
          <a:xfrm>
            <a:off x="4905495" y="2118581"/>
            <a:ext cx="1891395" cy="408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1000" b="1" dirty="0"/>
              <a:t>E-Mail-aktivierte Sicherheitsgruppe</a:t>
            </a:r>
          </a:p>
        </p:txBody>
      </p:sp>
    </p:spTree>
    <p:extLst>
      <p:ext uri="{BB962C8B-B14F-4D97-AF65-F5344CB8AC3E}">
        <p14:creationId xmlns:p14="http://schemas.microsoft.com/office/powerpoint/2010/main" val="2250562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50FAD103-150E-4888-9C6B-5A4A1F4BA25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graphicEl>
                                              <a:dgm id="{50FAD103-150E-4888-9C6B-5A4A1F4BA25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35D7F142-74A1-472A-8233-5F517200545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graphicEl>
                                              <a:dgm id="{35D7F142-74A1-472A-8233-5F517200545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8BF14D8B-AEA4-4203-AAF1-9840AF704AE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>
                                            <p:graphicEl>
                                              <a:dgm id="{8BF14D8B-AEA4-4203-AAF1-9840AF704AE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"/>
                            </p:stCondLst>
                            <p:childTnLst>
                              <p:par>
                                <p:cTn id="5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000"/>
                            </p:stCondLst>
                            <p:childTnLst>
                              <p:par>
                                <p:cTn id="5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 uiExpand="1">
        <p:bldSub>
          <a:bldDgm bld="one"/>
        </p:bldSub>
      </p:bldGraphic>
      <p:bldP spid="4" grpId="0"/>
      <p:bldP spid="5" grpId="0"/>
      <p:bldP spid="6" grpId="0"/>
      <p:bldP spid="7" grpId="0"/>
      <p:bldP spid="8" grpId="0"/>
      <p:bldP spid="9" grpId="0"/>
      <p:bldP spid="10" grpId="0"/>
      <p:bldP spid="11" grpId="0"/>
      <p:bldP spid="13" grpId="0"/>
      <p:bldP spid="14" grpId="0"/>
      <p:bldP spid="1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BC32C2-E686-1AA6-ABBE-D501CFB9C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arbeit in Microsoft 365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5C5C15D-21DC-F35E-9699-9F1925A8AFC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Jedes Teams </a:t>
            </a:r>
            <a:r>
              <a:rPr lang="de-DE" b="1" dirty="0"/>
              <a:t>Team</a:t>
            </a:r>
          </a:p>
          <a:p>
            <a:r>
              <a:rPr lang="de-DE" dirty="0"/>
              <a:t>Jede SharePoint </a:t>
            </a:r>
            <a:r>
              <a:rPr lang="de-DE" b="1" dirty="0"/>
              <a:t>Site</a:t>
            </a:r>
          </a:p>
          <a:p>
            <a:r>
              <a:rPr lang="de-DE" dirty="0"/>
              <a:t>Jede Outlook </a:t>
            </a:r>
            <a:r>
              <a:rPr lang="de-DE" b="1" dirty="0"/>
              <a:t>Gruppe</a:t>
            </a:r>
          </a:p>
          <a:p>
            <a:r>
              <a:rPr lang="de-DE" dirty="0"/>
              <a:t>Jede Stream </a:t>
            </a:r>
            <a:r>
              <a:rPr lang="de-DE" b="1" dirty="0"/>
              <a:t>Gruppe</a:t>
            </a:r>
          </a:p>
          <a:p>
            <a:r>
              <a:rPr lang="de-DE" dirty="0"/>
              <a:t>Jede Yammer </a:t>
            </a:r>
            <a:r>
              <a:rPr lang="de-DE" b="1" dirty="0"/>
              <a:t>Community</a:t>
            </a:r>
          </a:p>
          <a:p>
            <a:r>
              <a:rPr lang="de-DE" dirty="0"/>
              <a:t>Jeder Planner </a:t>
            </a:r>
            <a:r>
              <a:rPr lang="de-DE" b="1" dirty="0"/>
              <a:t>Plan</a:t>
            </a:r>
          </a:p>
          <a:p>
            <a:pPr marL="0" indent="0">
              <a:buNone/>
            </a:pP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wird durch eine Microsoft 365 Gruppe betrieben</a:t>
            </a:r>
          </a:p>
          <a:p>
            <a:endParaRPr lang="de-DE" dirty="0"/>
          </a:p>
        </p:txBody>
      </p:sp>
      <p:graphicFrame>
        <p:nvGraphicFramePr>
          <p:cNvPr id="5" name="Diagram 8">
            <a:extLst>
              <a:ext uri="{FF2B5EF4-FFF2-40B4-BE49-F238E27FC236}">
                <a16:creationId xmlns:a16="http://schemas.microsoft.com/office/drawing/2014/main" id="{3BB738EE-4B19-7C45-4BFE-8B52352000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2451559"/>
              </p:ext>
            </p:extLst>
          </p:nvPr>
        </p:nvGraphicFramePr>
        <p:xfrm>
          <a:off x="3755572" y="1169645"/>
          <a:ext cx="8360229" cy="46977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287833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8706E3-94B0-5305-98C2-68527D709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utzungsszenarien einer Microsoft 365 Grupp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66E535F-CAC5-1E3F-0B7B-DE55A9C742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Microsoft Teams mit den zugehörigen Ressourcen </a:t>
            </a:r>
          </a:p>
          <a:p>
            <a:pPr lvl="1"/>
            <a:r>
              <a:rPr lang="de-DE" dirty="0"/>
              <a:t>SharePoint Online</a:t>
            </a:r>
          </a:p>
          <a:p>
            <a:pPr lvl="1"/>
            <a:r>
              <a:rPr lang="de-DE" dirty="0"/>
              <a:t>OneNote, Planner</a:t>
            </a:r>
          </a:p>
          <a:p>
            <a:pPr lvl="1"/>
            <a:r>
              <a:rPr lang="de-DE" dirty="0"/>
              <a:t>Teams Apps</a:t>
            </a:r>
          </a:p>
          <a:p>
            <a:pPr lvl="1"/>
            <a:r>
              <a:rPr lang="de-DE" dirty="0"/>
              <a:t>…</a:t>
            </a:r>
          </a:p>
          <a:p>
            <a:endParaRPr lang="de-DE" dirty="0"/>
          </a:p>
          <a:p>
            <a:r>
              <a:rPr lang="de-DE" dirty="0"/>
              <a:t>Exchange Online</a:t>
            </a:r>
          </a:p>
          <a:p>
            <a:pPr lvl="1"/>
            <a:r>
              <a:rPr lang="de-DE" dirty="0"/>
              <a:t>Als Outlook-Gruppe sichtbar in Outlook-Clients</a:t>
            </a:r>
          </a:p>
          <a:p>
            <a:pPr lvl="2"/>
            <a:r>
              <a:rPr lang="de-DE" dirty="0"/>
              <a:t>Wenn die Gruppe nicht ausgeblendet ist</a:t>
            </a:r>
          </a:p>
          <a:p>
            <a:pPr lvl="1"/>
            <a:r>
              <a:rPr lang="de-DE" dirty="0"/>
              <a:t>Funktion einer Verteilergruppe</a:t>
            </a:r>
          </a:p>
          <a:p>
            <a:pPr lvl="2"/>
            <a:r>
              <a:rPr lang="de-DE" dirty="0"/>
              <a:t>Mitglieder können entscheiden, ob Nachrichten in den persönlichen Posteingang zugestellt werden</a:t>
            </a:r>
          </a:p>
          <a:p>
            <a:pPr lvl="1"/>
            <a:r>
              <a:rPr lang="de-DE" dirty="0"/>
              <a:t>Versand von Einladungen für Kanal-Besprechungen</a:t>
            </a:r>
          </a:p>
          <a:p>
            <a:pPr lvl="1"/>
            <a:r>
              <a:rPr lang="de-DE" dirty="0"/>
              <a:t>Empfang von Reaktionen auf Besprechungseinladungen</a:t>
            </a:r>
          </a:p>
          <a:p>
            <a:pPr lvl="1"/>
            <a:r>
              <a:rPr lang="de-DE" dirty="0"/>
              <a:t>Keine E-Mail-Verbindung zu Teams-Kanälen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2017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0E8EAA7-76C4-4D2B-81CE-57CA4627D3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chni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4140262-613E-47E0-8110-F2C2EDE2EF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2514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A2E9E630-FAEB-A73F-D499-E7C73C9C1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enzen der Gruppenkonfiguration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BC9DE9E-CE7E-CA00-879B-CA31A076E5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306" y="1825625"/>
            <a:ext cx="6589330" cy="4351338"/>
          </a:xfrm>
        </p:spPr>
        <p:txBody>
          <a:bodyPr/>
          <a:lstStyle/>
          <a:p>
            <a:r>
              <a:rPr lang="de-DE" dirty="0"/>
              <a:t>Microsoft Teams spezifische Einstellungen eines Teams, z.B.</a:t>
            </a:r>
          </a:p>
          <a:p>
            <a:pPr lvl="1"/>
            <a:r>
              <a:rPr lang="de-DE" dirty="0"/>
              <a:t>Team-Einstellungen für Benutzer und Gäste</a:t>
            </a:r>
          </a:p>
          <a:p>
            <a:pPr lvl="1"/>
            <a:r>
              <a:rPr lang="de-DE" dirty="0"/>
              <a:t>Kanal-E-Mail-Konfigurationen</a:t>
            </a:r>
          </a:p>
          <a:p>
            <a:pPr lvl="1"/>
            <a:r>
              <a:rPr lang="de-DE" dirty="0"/>
              <a:t>Besitzt der Kanal eine E-Mail-Adresse? (ja/nein)</a:t>
            </a:r>
          </a:p>
          <a:p>
            <a:pPr lvl="1"/>
            <a:r>
              <a:rPr lang="de-DE" dirty="0"/>
              <a:t>Wer darf an den Kanal senden?</a:t>
            </a:r>
          </a:p>
          <a:p>
            <a:endParaRPr lang="de-DE" dirty="0"/>
          </a:p>
          <a:p>
            <a:r>
              <a:rPr lang="de-DE" dirty="0"/>
              <a:t>SharePoint spezifische Einstellungen einer Team-Site</a:t>
            </a:r>
          </a:p>
          <a:p>
            <a:pPr lvl="1"/>
            <a:r>
              <a:rPr lang="de-DE" dirty="0"/>
              <a:t>z.B. Site-Quota, externes Teilen, Vertraulichkeitseinstellungen</a:t>
            </a:r>
          </a:p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87A7DDC-9777-9B00-711A-18C19AE3DB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3905" y="1343819"/>
            <a:ext cx="4957178" cy="339362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5853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4FAB37-A9DA-F97A-762B-295E60461D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365 Gruppen – Family </a:t>
            </a:r>
            <a:r>
              <a:rPr lang="de-DE" dirty="0" err="1"/>
              <a:t>Tree</a:t>
            </a:r>
            <a:r>
              <a:rPr lang="de-DE" dirty="0"/>
              <a:t>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1B018A1-4CB8-41D5-4EDF-9CDE264D0E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9324" y="1118529"/>
            <a:ext cx="11581003" cy="532576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17935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07F0-F6C9-E723-CB1E-3A40C87FD4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ctive Directory Synchronisation – M365 Gruppen</a:t>
            </a:r>
          </a:p>
        </p:txBody>
      </p:sp>
      <p:pic>
        <p:nvPicPr>
          <p:cNvPr id="4" name="AAD">
            <a:extLst>
              <a:ext uri="{FF2B5EF4-FFF2-40B4-BE49-F238E27FC236}">
                <a16:creationId xmlns:a16="http://schemas.microsoft.com/office/drawing/2014/main" id="{6F0A9803-B607-B0FC-2382-C207F2D6A2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6625" y="1934375"/>
            <a:ext cx="742950" cy="809625"/>
          </a:xfrm>
          <a:prstGeom prst="rect">
            <a:avLst/>
          </a:prstGeom>
        </p:spPr>
      </p:pic>
      <p:pic>
        <p:nvPicPr>
          <p:cNvPr id="5" name="AD">
            <a:extLst>
              <a:ext uri="{FF2B5EF4-FFF2-40B4-BE49-F238E27FC236}">
                <a16:creationId xmlns:a16="http://schemas.microsoft.com/office/drawing/2014/main" id="{93012433-A691-F7FF-5928-3FDE3ED569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3690" y="1934376"/>
            <a:ext cx="866775" cy="809625"/>
          </a:xfrm>
          <a:prstGeom prst="rect">
            <a:avLst/>
          </a:prstGeom>
        </p:spPr>
      </p:pic>
      <p:pic>
        <p:nvPicPr>
          <p:cNvPr id="6" name="DL OP">
            <a:extLst>
              <a:ext uri="{FF2B5EF4-FFF2-40B4-BE49-F238E27FC236}">
                <a16:creationId xmlns:a16="http://schemas.microsoft.com/office/drawing/2014/main" id="{132C23B5-5EC4-AAA8-3B08-F23DC2EA8A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9168" y="2934587"/>
            <a:ext cx="395817" cy="377825"/>
          </a:xfrm>
          <a:prstGeom prst="rect">
            <a:avLst/>
          </a:prstGeom>
        </p:spPr>
      </p:pic>
      <p:pic>
        <p:nvPicPr>
          <p:cNvPr id="7" name="SEC OP">
            <a:extLst>
              <a:ext uri="{FF2B5EF4-FFF2-40B4-BE49-F238E27FC236}">
                <a16:creationId xmlns:a16="http://schemas.microsoft.com/office/drawing/2014/main" id="{E9FAE9B8-4F9D-7BC9-2D69-A46D2485EF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41441" y="3548218"/>
            <a:ext cx="395815" cy="377824"/>
          </a:xfrm>
          <a:prstGeom prst="rect">
            <a:avLst/>
          </a:prstGeom>
        </p:spPr>
      </p:pic>
      <p:pic>
        <p:nvPicPr>
          <p:cNvPr id="8" name="ESEC AD">
            <a:extLst>
              <a:ext uri="{FF2B5EF4-FFF2-40B4-BE49-F238E27FC236}">
                <a16:creationId xmlns:a16="http://schemas.microsoft.com/office/drawing/2014/main" id="{62B93CAD-8A47-EA66-1D1B-BE1E386733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39171" y="4138563"/>
            <a:ext cx="395814" cy="377822"/>
          </a:xfrm>
          <a:prstGeom prst="rect">
            <a:avLst/>
          </a:prstGeom>
        </p:spPr>
      </p:pic>
      <p:pic>
        <p:nvPicPr>
          <p:cNvPr id="9" name="DL SYNC">
            <a:extLst>
              <a:ext uri="{FF2B5EF4-FFF2-40B4-BE49-F238E27FC236}">
                <a16:creationId xmlns:a16="http://schemas.microsoft.com/office/drawing/2014/main" id="{EFB10314-E5DF-CF8E-2CE7-B92450BF6DF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570710" y="2934587"/>
            <a:ext cx="395817" cy="377825"/>
          </a:xfrm>
          <a:prstGeom prst="rect">
            <a:avLst/>
          </a:prstGeom>
        </p:spPr>
      </p:pic>
      <p:pic>
        <p:nvPicPr>
          <p:cNvPr id="10" name="SEC SYNC">
            <a:extLst>
              <a:ext uri="{FF2B5EF4-FFF2-40B4-BE49-F238E27FC236}">
                <a16:creationId xmlns:a16="http://schemas.microsoft.com/office/drawing/2014/main" id="{6C5CDCC8-2A53-9CAB-11ED-5B2E6CB04C1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572983" y="3548218"/>
            <a:ext cx="395815" cy="377824"/>
          </a:xfrm>
          <a:prstGeom prst="rect">
            <a:avLst/>
          </a:prstGeom>
        </p:spPr>
      </p:pic>
      <p:pic>
        <p:nvPicPr>
          <p:cNvPr id="11" name="ESEC SYNC">
            <a:extLst>
              <a:ext uri="{FF2B5EF4-FFF2-40B4-BE49-F238E27FC236}">
                <a16:creationId xmlns:a16="http://schemas.microsoft.com/office/drawing/2014/main" id="{05E406FD-91BC-37E8-BDCE-7C878B24B33C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570713" y="4138563"/>
            <a:ext cx="395814" cy="377822"/>
          </a:xfrm>
          <a:prstGeom prst="rect">
            <a:avLst/>
          </a:prstGeom>
        </p:spPr>
      </p:pic>
      <p:pic>
        <p:nvPicPr>
          <p:cNvPr id="12" name="Exchange Server">
            <a:extLst>
              <a:ext uri="{FF2B5EF4-FFF2-40B4-BE49-F238E27FC236}">
                <a16:creationId xmlns:a16="http://schemas.microsoft.com/office/drawing/2014/main" id="{0F840436-D62A-DF10-983E-AAB16BFF363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63579" y="2258280"/>
            <a:ext cx="497863" cy="485720"/>
          </a:xfrm>
          <a:prstGeom prst="rect">
            <a:avLst/>
          </a:prstGeom>
        </p:spPr>
      </p:pic>
      <p:pic>
        <p:nvPicPr>
          <p:cNvPr id="13" name="Outlook On-Premises">
            <a:extLst>
              <a:ext uri="{FF2B5EF4-FFF2-40B4-BE49-F238E27FC236}">
                <a16:creationId xmlns:a16="http://schemas.microsoft.com/office/drawing/2014/main" id="{78A1584B-C762-BD53-3EBC-C5416C643B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3635" y="3575920"/>
            <a:ext cx="333278" cy="333278"/>
          </a:xfrm>
          <a:prstGeom prst="rect">
            <a:avLst/>
          </a:prstGeom>
        </p:spPr>
      </p:pic>
      <p:pic>
        <p:nvPicPr>
          <p:cNvPr id="14" name="Outlook EXO">
            <a:extLst>
              <a:ext uri="{FF2B5EF4-FFF2-40B4-BE49-F238E27FC236}">
                <a16:creationId xmlns:a16="http://schemas.microsoft.com/office/drawing/2014/main" id="{F6C4CDD2-B68C-2D55-C838-4637D4AB840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59843" y="3592764"/>
            <a:ext cx="333278" cy="333278"/>
          </a:xfrm>
          <a:prstGeom prst="rect">
            <a:avLst/>
          </a:prstGeom>
        </p:spPr>
      </p:pic>
      <p:pic>
        <p:nvPicPr>
          <p:cNvPr id="15" name="Teams">
            <a:extLst>
              <a:ext uri="{FF2B5EF4-FFF2-40B4-BE49-F238E27FC236}">
                <a16:creationId xmlns:a16="http://schemas.microsoft.com/office/drawing/2014/main" id="{8B7F3C60-547E-CE0C-861F-C6553E017F7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88661" y="3027112"/>
            <a:ext cx="333278" cy="333278"/>
          </a:xfrm>
          <a:prstGeom prst="rect">
            <a:avLst/>
          </a:prstGeom>
        </p:spPr>
      </p:pic>
      <p:sp>
        <p:nvSpPr>
          <p:cNvPr id="16" name="Geschweifte Klammer rechts OP">
            <a:extLst>
              <a:ext uri="{FF2B5EF4-FFF2-40B4-BE49-F238E27FC236}">
                <a16:creationId xmlns:a16="http://schemas.microsoft.com/office/drawing/2014/main" id="{0A6C7B9B-397E-3BCE-DC7C-3B4D68C35C5E}"/>
              </a:ext>
            </a:extLst>
          </p:cNvPr>
          <p:cNvSpPr/>
          <p:nvPr/>
        </p:nvSpPr>
        <p:spPr>
          <a:xfrm>
            <a:off x="2450666" y="2945185"/>
            <a:ext cx="333278" cy="1581798"/>
          </a:xfrm>
          <a:prstGeom prst="rightBrac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Geschweifte Klammer links AAD">
            <a:extLst>
              <a:ext uri="{FF2B5EF4-FFF2-40B4-BE49-F238E27FC236}">
                <a16:creationId xmlns:a16="http://schemas.microsoft.com/office/drawing/2014/main" id="{E95D9E0F-438D-7F81-CE97-5732F19BA77F}"/>
              </a:ext>
            </a:extLst>
          </p:cNvPr>
          <p:cNvSpPr/>
          <p:nvPr/>
        </p:nvSpPr>
        <p:spPr>
          <a:xfrm flipH="1">
            <a:off x="8194439" y="2956126"/>
            <a:ext cx="333278" cy="1581798"/>
          </a:xfrm>
          <a:prstGeom prst="rightBrac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8" name="DL CO">
            <a:extLst>
              <a:ext uri="{FF2B5EF4-FFF2-40B4-BE49-F238E27FC236}">
                <a16:creationId xmlns:a16="http://schemas.microsoft.com/office/drawing/2014/main" id="{B57032DB-A124-D5D9-755E-6CA838E2CA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61990" y="2940016"/>
            <a:ext cx="395817" cy="377825"/>
          </a:xfrm>
          <a:prstGeom prst="rect">
            <a:avLst/>
          </a:prstGeom>
        </p:spPr>
      </p:pic>
      <p:pic>
        <p:nvPicPr>
          <p:cNvPr id="19" name="SEC AAD">
            <a:extLst>
              <a:ext uri="{FF2B5EF4-FFF2-40B4-BE49-F238E27FC236}">
                <a16:creationId xmlns:a16="http://schemas.microsoft.com/office/drawing/2014/main" id="{54998ED4-21C8-72F2-F736-62C1CD44A3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64263" y="3553647"/>
            <a:ext cx="395815" cy="377824"/>
          </a:xfrm>
          <a:prstGeom prst="rect">
            <a:avLst/>
          </a:prstGeom>
        </p:spPr>
      </p:pic>
      <p:pic>
        <p:nvPicPr>
          <p:cNvPr id="20" name="ESEC AAD">
            <a:extLst>
              <a:ext uri="{FF2B5EF4-FFF2-40B4-BE49-F238E27FC236}">
                <a16:creationId xmlns:a16="http://schemas.microsoft.com/office/drawing/2014/main" id="{7B897248-C92F-B694-E97E-39E07DADD30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61993" y="4143992"/>
            <a:ext cx="395814" cy="377822"/>
          </a:xfrm>
          <a:prstGeom prst="rect">
            <a:avLst/>
          </a:prstGeom>
        </p:spPr>
      </p:pic>
      <p:sp>
        <p:nvSpPr>
          <p:cNvPr id="21" name="SOA AD">
            <a:extLst>
              <a:ext uri="{FF2B5EF4-FFF2-40B4-BE49-F238E27FC236}">
                <a16:creationId xmlns:a16="http://schemas.microsoft.com/office/drawing/2014/main" id="{C0299984-94BE-8120-363B-2B5803DAB718}"/>
              </a:ext>
            </a:extLst>
          </p:cNvPr>
          <p:cNvSpPr txBox="1"/>
          <p:nvPr/>
        </p:nvSpPr>
        <p:spPr>
          <a:xfrm>
            <a:off x="1939792" y="2664570"/>
            <a:ext cx="594567" cy="247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1050" dirty="0"/>
              <a:t>SOA</a:t>
            </a:r>
          </a:p>
        </p:txBody>
      </p:sp>
      <p:cxnSp>
        <p:nvCxnSpPr>
          <p:cNvPr id="22" name="AADC-AD">
            <a:extLst>
              <a:ext uri="{FF2B5EF4-FFF2-40B4-BE49-F238E27FC236}">
                <a16:creationId xmlns:a16="http://schemas.microsoft.com/office/drawing/2014/main" id="{66B80C61-3D3C-DBE4-FF50-2FF8FF9C7C7E}"/>
              </a:ext>
            </a:extLst>
          </p:cNvPr>
          <p:cNvCxnSpPr>
            <a:stCxn id="16" idx="1"/>
            <a:endCxn id="37" idx="1"/>
          </p:cNvCxnSpPr>
          <p:nvPr/>
        </p:nvCxnSpPr>
        <p:spPr>
          <a:xfrm>
            <a:off x="2783944" y="3736084"/>
            <a:ext cx="1901686" cy="8015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AAD-AAD">
            <a:extLst>
              <a:ext uri="{FF2B5EF4-FFF2-40B4-BE49-F238E27FC236}">
                <a16:creationId xmlns:a16="http://schemas.microsoft.com/office/drawing/2014/main" id="{E57680AD-BACA-E4CD-0AC4-E24E709E1682}"/>
              </a:ext>
            </a:extLst>
          </p:cNvPr>
          <p:cNvCxnSpPr>
            <a:stCxn id="17" idx="1"/>
            <a:endCxn id="37" idx="3"/>
          </p:cNvCxnSpPr>
          <p:nvPr/>
        </p:nvCxnSpPr>
        <p:spPr>
          <a:xfrm flipH="1" flipV="1">
            <a:off x="5123687" y="3744099"/>
            <a:ext cx="3070752" cy="2926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Geschweifte Klammer links OP">
            <a:extLst>
              <a:ext uri="{FF2B5EF4-FFF2-40B4-BE49-F238E27FC236}">
                <a16:creationId xmlns:a16="http://schemas.microsoft.com/office/drawing/2014/main" id="{4CCE5993-0614-DBAE-6038-B17DC653347E}"/>
              </a:ext>
            </a:extLst>
          </p:cNvPr>
          <p:cNvSpPr/>
          <p:nvPr/>
        </p:nvSpPr>
        <p:spPr>
          <a:xfrm flipH="1">
            <a:off x="1650814" y="2945185"/>
            <a:ext cx="333278" cy="1581798"/>
          </a:xfrm>
          <a:prstGeom prst="rightBrac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Geschweifte Klammer rechts AAD">
            <a:extLst>
              <a:ext uri="{FF2B5EF4-FFF2-40B4-BE49-F238E27FC236}">
                <a16:creationId xmlns:a16="http://schemas.microsoft.com/office/drawing/2014/main" id="{D503EAC5-8F92-630E-D09D-FE1B221B31C7}"/>
              </a:ext>
            </a:extLst>
          </p:cNvPr>
          <p:cNvSpPr/>
          <p:nvPr/>
        </p:nvSpPr>
        <p:spPr>
          <a:xfrm>
            <a:off x="9642608" y="2945185"/>
            <a:ext cx="333278" cy="1592740"/>
          </a:xfrm>
          <a:prstGeom prst="rightBrac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SOA AAD">
            <a:extLst>
              <a:ext uri="{FF2B5EF4-FFF2-40B4-BE49-F238E27FC236}">
                <a16:creationId xmlns:a16="http://schemas.microsoft.com/office/drawing/2014/main" id="{D6A6DFDB-B329-F411-4A80-5B595834EC05}"/>
              </a:ext>
            </a:extLst>
          </p:cNvPr>
          <p:cNvSpPr txBox="1"/>
          <p:nvPr/>
        </p:nvSpPr>
        <p:spPr>
          <a:xfrm>
            <a:off x="9063239" y="2664570"/>
            <a:ext cx="594567" cy="247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1050"/>
              <a:t>SOA</a:t>
            </a:r>
          </a:p>
        </p:txBody>
      </p:sp>
      <p:sp>
        <p:nvSpPr>
          <p:cNvPr id="27" name="SOA Rahmen AAD">
            <a:extLst>
              <a:ext uri="{FF2B5EF4-FFF2-40B4-BE49-F238E27FC236}">
                <a16:creationId xmlns:a16="http://schemas.microsoft.com/office/drawing/2014/main" id="{3316EDDC-5286-DAE0-B636-1EC3C7A0578E}"/>
              </a:ext>
            </a:extLst>
          </p:cNvPr>
          <p:cNvSpPr/>
          <p:nvPr/>
        </p:nvSpPr>
        <p:spPr>
          <a:xfrm>
            <a:off x="9111674" y="2898776"/>
            <a:ext cx="500425" cy="1728787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grpSp>
        <p:nvGrpSpPr>
          <p:cNvPr id="28" name="Adressbuch On-Premises">
            <a:extLst>
              <a:ext uri="{FF2B5EF4-FFF2-40B4-BE49-F238E27FC236}">
                <a16:creationId xmlns:a16="http://schemas.microsoft.com/office/drawing/2014/main" id="{30A7891B-68A6-B770-A9FE-1FDBAE62D9C1}"/>
              </a:ext>
            </a:extLst>
          </p:cNvPr>
          <p:cNvGrpSpPr/>
          <p:nvPr/>
        </p:nvGrpSpPr>
        <p:grpSpPr>
          <a:xfrm>
            <a:off x="901088" y="3577461"/>
            <a:ext cx="777889" cy="588457"/>
            <a:chOff x="608071" y="2839273"/>
            <a:chExt cx="777889" cy="588457"/>
          </a:xfrm>
        </p:grpSpPr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9A7FB8D5-76C8-EB71-3A84-9260C667AD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20327" y="2839273"/>
              <a:ext cx="380888" cy="333277"/>
            </a:xfrm>
            <a:prstGeom prst="rect">
              <a:avLst/>
            </a:prstGeom>
          </p:spPr>
        </p:pic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454B36F0-FDB2-06E3-C4B1-4D601B165B20}"/>
                </a:ext>
              </a:extLst>
            </p:cNvPr>
            <p:cNvSpPr txBox="1"/>
            <p:nvPr/>
          </p:nvSpPr>
          <p:spPr>
            <a:xfrm>
              <a:off x="608071" y="3118863"/>
              <a:ext cx="777889" cy="3088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5000"/>
                </a:lnSpc>
                <a:buClr>
                  <a:schemeClr val="accent1"/>
                </a:buClr>
              </a:pPr>
              <a:r>
                <a:rPr lang="de-DE" sz="700" dirty="0"/>
                <a:t>Adressbuch</a:t>
              </a:r>
              <a:br>
                <a:rPr lang="de-DE" sz="700" dirty="0"/>
              </a:br>
              <a:r>
                <a:rPr lang="de-DE" sz="700" dirty="0"/>
                <a:t>On-Premises</a:t>
              </a:r>
            </a:p>
          </p:txBody>
        </p:sp>
      </p:grpSp>
      <p:grpSp>
        <p:nvGrpSpPr>
          <p:cNvPr id="31" name="Adressbuch EXO">
            <a:extLst>
              <a:ext uri="{FF2B5EF4-FFF2-40B4-BE49-F238E27FC236}">
                <a16:creationId xmlns:a16="http://schemas.microsoft.com/office/drawing/2014/main" id="{EC2F9B14-4A9A-A24C-D36F-9A4B9A7D4F81}"/>
              </a:ext>
            </a:extLst>
          </p:cNvPr>
          <p:cNvGrpSpPr/>
          <p:nvPr/>
        </p:nvGrpSpPr>
        <p:grpSpPr>
          <a:xfrm>
            <a:off x="9765081" y="3593888"/>
            <a:ext cx="777889" cy="698237"/>
            <a:chOff x="7821981" y="2855700"/>
            <a:chExt cx="777889" cy="698237"/>
          </a:xfrm>
        </p:grpSpPr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FD0286DE-24AC-4BD8-CDAC-DE19D85860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020482" y="2855700"/>
              <a:ext cx="380888" cy="333277"/>
            </a:xfrm>
            <a:prstGeom prst="rect">
              <a:avLst/>
            </a:prstGeom>
          </p:spPr>
        </p:pic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C53A80FB-D24C-A454-2FBD-D264BC378649}"/>
                </a:ext>
              </a:extLst>
            </p:cNvPr>
            <p:cNvSpPr txBox="1"/>
            <p:nvPr/>
          </p:nvSpPr>
          <p:spPr>
            <a:xfrm>
              <a:off x="7821981" y="3131962"/>
              <a:ext cx="777889" cy="4219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5000"/>
                </a:lnSpc>
                <a:buClr>
                  <a:schemeClr val="accent1"/>
                </a:buClr>
              </a:pPr>
              <a:r>
                <a:rPr lang="de-DE" sz="700" dirty="0"/>
                <a:t>Adressbuch</a:t>
              </a:r>
              <a:br>
                <a:rPr lang="de-DE" sz="700" dirty="0"/>
              </a:br>
              <a:r>
                <a:rPr lang="de-DE" sz="700" dirty="0"/>
                <a:t>Exchange Online</a:t>
              </a:r>
            </a:p>
          </p:txBody>
        </p:sp>
      </p:grpSp>
      <p:pic>
        <p:nvPicPr>
          <p:cNvPr id="34" name="EXO DS">
            <a:extLst>
              <a:ext uri="{FF2B5EF4-FFF2-40B4-BE49-F238E27FC236}">
                <a16:creationId xmlns:a16="http://schemas.microsoft.com/office/drawing/2014/main" id="{F8AD4E90-3C95-AB40-A2B6-1B93EAAF97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75886" y="2052142"/>
            <a:ext cx="264976" cy="247505"/>
          </a:xfrm>
          <a:prstGeom prst="rect">
            <a:avLst/>
          </a:prstGeom>
        </p:spPr>
      </p:pic>
      <p:pic>
        <p:nvPicPr>
          <p:cNvPr id="35" name="EXO">
            <a:extLst>
              <a:ext uri="{FF2B5EF4-FFF2-40B4-BE49-F238E27FC236}">
                <a16:creationId xmlns:a16="http://schemas.microsoft.com/office/drawing/2014/main" id="{92991347-082C-BB67-3781-B77ABB73FD8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893770" y="2298847"/>
            <a:ext cx="390525" cy="352425"/>
          </a:xfrm>
          <a:prstGeom prst="rect">
            <a:avLst/>
          </a:prstGeom>
        </p:spPr>
      </p:pic>
      <p:grpSp>
        <p:nvGrpSpPr>
          <p:cNvPr id="36" name="AAD Connect">
            <a:extLst>
              <a:ext uri="{FF2B5EF4-FFF2-40B4-BE49-F238E27FC236}">
                <a16:creationId xmlns:a16="http://schemas.microsoft.com/office/drawing/2014/main" id="{BB2B860A-3D27-705E-5EC7-06BC6D10A62F}"/>
              </a:ext>
            </a:extLst>
          </p:cNvPr>
          <p:cNvGrpSpPr/>
          <p:nvPr/>
        </p:nvGrpSpPr>
        <p:grpSpPr>
          <a:xfrm>
            <a:off x="4476072" y="3489066"/>
            <a:ext cx="777889" cy="752897"/>
            <a:chOff x="4183055" y="2750878"/>
            <a:chExt cx="777889" cy="752897"/>
          </a:xfrm>
        </p:grpSpPr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F8145611-374B-F929-49CA-68649F9751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392613" y="2750878"/>
              <a:ext cx="438057" cy="510066"/>
            </a:xfrm>
            <a:prstGeom prst="rect">
              <a:avLst/>
            </a:prstGeom>
          </p:spPr>
        </p:pic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D4CC8FB0-AFAD-EB7D-EA85-DC6ABD10FCD4}"/>
                </a:ext>
              </a:extLst>
            </p:cNvPr>
            <p:cNvSpPr txBox="1"/>
            <p:nvPr/>
          </p:nvSpPr>
          <p:spPr>
            <a:xfrm>
              <a:off x="4183055" y="3194908"/>
              <a:ext cx="777889" cy="3088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5000"/>
                </a:lnSpc>
                <a:buClr>
                  <a:schemeClr val="accent1"/>
                </a:buClr>
              </a:pPr>
              <a:r>
                <a:rPr lang="de-DE" sz="700"/>
                <a:t>Azure AD Connect 2.0</a:t>
              </a:r>
            </a:p>
          </p:txBody>
        </p:sp>
      </p:grpSp>
      <p:sp>
        <p:nvSpPr>
          <p:cNvPr id="39" name="Rahmen OP">
            <a:extLst>
              <a:ext uri="{FF2B5EF4-FFF2-40B4-BE49-F238E27FC236}">
                <a16:creationId xmlns:a16="http://schemas.microsoft.com/office/drawing/2014/main" id="{35E0AA23-E1E8-E0FD-1CDE-E9C4A2EE1CFD}"/>
              </a:ext>
            </a:extLst>
          </p:cNvPr>
          <p:cNvSpPr/>
          <p:nvPr/>
        </p:nvSpPr>
        <p:spPr>
          <a:xfrm>
            <a:off x="486996" y="1758982"/>
            <a:ext cx="4853921" cy="36182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5000"/>
              </a:lnSpc>
              <a:buClr>
                <a:schemeClr val="accent1"/>
              </a:buClr>
            </a:pPr>
            <a:r>
              <a:rPr lang="de-DE" sz="1050">
                <a:solidFill>
                  <a:schemeClr val="tx1"/>
                </a:solidFill>
              </a:rPr>
              <a:t>Lokal</a:t>
            </a:r>
          </a:p>
        </p:txBody>
      </p:sp>
      <p:sp>
        <p:nvSpPr>
          <p:cNvPr id="40" name="Rahmen M365">
            <a:extLst>
              <a:ext uri="{FF2B5EF4-FFF2-40B4-BE49-F238E27FC236}">
                <a16:creationId xmlns:a16="http://schemas.microsoft.com/office/drawing/2014/main" id="{DE6C51F8-99EE-6A77-A1DB-75DDC6630A73}"/>
              </a:ext>
            </a:extLst>
          </p:cNvPr>
          <p:cNvSpPr/>
          <p:nvPr/>
        </p:nvSpPr>
        <p:spPr>
          <a:xfrm>
            <a:off x="7457574" y="1758982"/>
            <a:ext cx="3565558" cy="36182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5000"/>
              </a:lnSpc>
              <a:buClr>
                <a:schemeClr val="accent1"/>
              </a:buClr>
            </a:pPr>
            <a:r>
              <a:rPr lang="de-DE" sz="1050">
                <a:solidFill>
                  <a:schemeClr val="tx1"/>
                </a:solidFill>
              </a:rPr>
              <a:t>Microsoft 365</a:t>
            </a:r>
          </a:p>
        </p:txBody>
      </p:sp>
      <p:sp>
        <p:nvSpPr>
          <p:cNvPr id="41" name="AAD Label 2">
            <a:extLst>
              <a:ext uri="{FF2B5EF4-FFF2-40B4-BE49-F238E27FC236}">
                <a16:creationId xmlns:a16="http://schemas.microsoft.com/office/drawing/2014/main" id="{3E343736-F77D-FF7B-8104-EBBA43F7B62C}"/>
              </a:ext>
            </a:extLst>
          </p:cNvPr>
          <p:cNvSpPr txBox="1"/>
          <p:nvPr/>
        </p:nvSpPr>
        <p:spPr>
          <a:xfrm>
            <a:off x="2685493" y="3570418"/>
            <a:ext cx="2015165" cy="344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800" dirty="0"/>
              <a:t>Zurückschreiben einzelner Attribute</a:t>
            </a:r>
            <a:br>
              <a:rPr lang="de-DE" sz="800" dirty="0"/>
            </a:br>
            <a:r>
              <a:rPr lang="de-DE" sz="800" dirty="0"/>
              <a:t>z.B. </a:t>
            </a:r>
            <a:r>
              <a:rPr lang="de-DE" sz="800" b="0" i="1" dirty="0" err="1">
                <a:solidFill>
                  <a:srgbClr val="161616"/>
                </a:solidFill>
                <a:effectLst/>
                <a:latin typeface="Segoe UI" panose="020B0502040204020203" pitchFamily="34" charset="0"/>
              </a:rPr>
              <a:t>mS</a:t>
            </a:r>
            <a:r>
              <a:rPr lang="de-DE" sz="800" b="0" i="1" dirty="0">
                <a:solidFill>
                  <a:srgbClr val="161616"/>
                </a:solidFill>
                <a:effectLst/>
                <a:latin typeface="Segoe UI" panose="020B0502040204020203" pitchFamily="34" charset="0"/>
              </a:rPr>
              <a:t>-DS-</a:t>
            </a:r>
            <a:r>
              <a:rPr lang="de-DE" sz="800" b="0" i="1" dirty="0" err="1">
                <a:solidFill>
                  <a:srgbClr val="161616"/>
                </a:solidFill>
                <a:effectLst/>
                <a:latin typeface="Segoe UI" panose="020B0502040204020203" pitchFamily="34" charset="0"/>
              </a:rPr>
              <a:t>ConsistencyGuid</a:t>
            </a:r>
            <a:endParaRPr lang="de-DE" sz="800" i="1" dirty="0"/>
          </a:p>
        </p:txBody>
      </p:sp>
      <p:sp>
        <p:nvSpPr>
          <p:cNvPr id="42" name="SOA Rahmen AAD">
            <a:extLst>
              <a:ext uri="{FF2B5EF4-FFF2-40B4-BE49-F238E27FC236}">
                <a16:creationId xmlns:a16="http://schemas.microsoft.com/office/drawing/2014/main" id="{C7BCA07F-6327-DFA5-F006-ADA4EB3FAEAC}"/>
              </a:ext>
            </a:extLst>
          </p:cNvPr>
          <p:cNvSpPr/>
          <p:nvPr/>
        </p:nvSpPr>
        <p:spPr>
          <a:xfrm>
            <a:off x="1966647" y="2882833"/>
            <a:ext cx="500425" cy="1728787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sp>
        <p:nvSpPr>
          <p:cNvPr id="44" name="SOA AD">
            <a:extLst>
              <a:ext uri="{FF2B5EF4-FFF2-40B4-BE49-F238E27FC236}">
                <a16:creationId xmlns:a16="http://schemas.microsoft.com/office/drawing/2014/main" id="{18EEB8C9-7090-215F-670F-029DFBDB9C6B}"/>
              </a:ext>
            </a:extLst>
          </p:cNvPr>
          <p:cNvSpPr txBox="1"/>
          <p:nvPr/>
        </p:nvSpPr>
        <p:spPr>
          <a:xfrm>
            <a:off x="486996" y="6366494"/>
            <a:ext cx="8083714" cy="2551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buClr>
                <a:schemeClr val="accent1"/>
              </a:buClr>
            </a:pPr>
            <a:r>
              <a:rPr lang="de-DE" sz="1050" dirty="0"/>
              <a:t>SOA = Source </a:t>
            </a:r>
            <a:r>
              <a:rPr lang="de-DE" sz="1050" dirty="0" err="1"/>
              <a:t>of</a:t>
            </a:r>
            <a:r>
              <a:rPr lang="de-DE" sz="1050" dirty="0"/>
              <a:t> Authority, Quelle der Autorität für Identitäten</a:t>
            </a:r>
          </a:p>
        </p:txBody>
      </p:sp>
    </p:spTree>
    <p:extLst>
      <p:ext uri="{BB962C8B-B14F-4D97-AF65-F5344CB8AC3E}">
        <p14:creationId xmlns:p14="http://schemas.microsoft.com/office/powerpoint/2010/main" val="754871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000"/>
                            </p:stCondLst>
                            <p:childTnLst>
                              <p:par>
                                <p:cTn id="4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00"/>
                            </p:stCondLst>
                            <p:childTnLst>
                              <p:par>
                                <p:cTn id="7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500"/>
                            </p:stCondLst>
                            <p:childTnLst>
                              <p:par>
                                <p:cTn id="8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000"/>
                            </p:stCondLst>
                            <p:childTnLst>
                              <p:par>
                                <p:cTn id="9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21" grpId="0"/>
      <p:bldP spid="24" grpId="0" animBg="1"/>
      <p:bldP spid="25" grpId="0" animBg="1"/>
      <p:bldP spid="26" grpId="0"/>
      <p:bldP spid="27" grpId="0" animBg="1"/>
      <p:bldP spid="41" grpId="0"/>
      <p:bldP spid="42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07F0-F6C9-E723-CB1E-3A40C87FD4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ctive Directory Synchronisation – M365 Gruppen</a:t>
            </a:r>
          </a:p>
        </p:txBody>
      </p:sp>
      <p:pic>
        <p:nvPicPr>
          <p:cNvPr id="4" name="AAD">
            <a:extLst>
              <a:ext uri="{FF2B5EF4-FFF2-40B4-BE49-F238E27FC236}">
                <a16:creationId xmlns:a16="http://schemas.microsoft.com/office/drawing/2014/main" id="{6F0A9803-B607-B0FC-2382-C207F2D6A2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6625" y="1934375"/>
            <a:ext cx="742950" cy="809625"/>
          </a:xfrm>
          <a:prstGeom prst="rect">
            <a:avLst/>
          </a:prstGeom>
        </p:spPr>
      </p:pic>
      <p:pic>
        <p:nvPicPr>
          <p:cNvPr id="5" name="AD">
            <a:extLst>
              <a:ext uri="{FF2B5EF4-FFF2-40B4-BE49-F238E27FC236}">
                <a16:creationId xmlns:a16="http://schemas.microsoft.com/office/drawing/2014/main" id="{93012433-A691-F7FF-5928-3FDE3ED569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3690" y="1934376"/>
            <a:ext cx="866775" cy="809625"/>
          </a:xfrm>
          <a:prstGeom prst="rect">
            <a:avLst/>
          </a:prstGeom>
        </p:spPr>
      </p:pic>
      <p:pic>
        <p:nvPicPr>
          <p:cNvPr id="6" name="DL OP">
            <a:extLst>
              <a:ext uri="{FF2B5EF4-FFF2-40B4-BE49-F238E27FC236}">
                <a16:creationId xmlns:a16="http://schemas.microsoft.com/office/drawing/2014/main" id="{132C23B5-5EC4-AAA8-3B08-F23DC2EA8A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9168" y="2934587"/>
            <a:ext cx="395817" cy="377825"/>
          </a:xfrm>
          <a:prstGeom prst="rect">
            <a:avLst/>
          </a:prstGeom>
        </p:spPr>
      </p:pic>
      <p:pic>
        <p:nvPicPr>
          <p:cNvPr id="7" name="SEC OP">
            <a:extLst>
              <a:ext uri="{FF2B5EF4-FFF2-40B4-BE49-F238E27FC236}">
                <a16:creationId xmlns:a16="http://schemas.microsoft.com/office/drawing/2014/main" id="{E9FAE9B8-4F9D-7BC9-2D69-A46D2485EF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41441" y="3548218"/>
            <a:ext cx="395815" cy="377824"/>
          </a:xfrm>
          <a:prstGeom prst="rect">
            <a:avLst/>
          </a:prstGeom>
        </p:spPr>
      </p:pic>
      <p:pic>
        <p:nvPicPr>
          <p:cNvPr id="8" name="ESEC AD">
            <a:extLst>
              <a:ext uri="{FF2B5EF4-FFF2-40B4-BE49-F238E27FC236}">
                <a16:creationId xmlns:a16="http://schemas.microsoft.com/office/drawing/2014/main" id="{62B93CAD-8A47-EA66-1D1B-BE1E386733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39171" y="4138563"/>
            <a:ext cx="395814" cy="377822"/>
          </a:xfrm>
          <a:prstGeom prst="rect">
            <a:avLst/>
          </a:prstGeom>
        </p:spPr>
      </p:pic>
      <p:pic>
        <p:nvPicPr>
          <p:cNvPr id="9" name="DL SYNC">
            <a:extLst>
              <a:ext uri="{FF2B5EF4-FFF2-40B4-BE49-F238E27FC236}">
                <a16:creationId xmlns:a16="http://schemas.microsoft.com/office/drawing/2014/main" id="{EFB10314-E5DF-CF8E-2CE7-B92450BF6DF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570710" y="2934587"/>
            <a:ext cx="395817" cy="377825"/>
          </a:xfrm>
          <a:prstGeom prst="rect">
            <a:avLst/>
          </a:prstGeom>
        </p:spPr>
      </p:pic>
      <p:pic>
        <p:nvPicPr>
          <p:cNvPr id="10" name="SEC SYNC">
            <a:extLst>
              <a:ext uri="{FF2B5EF4-FFF2-40B4-BE49-F238E27FC236}">
                <a16:creationId xmlns:a16="http://schemas.microsoft.com/office/drawing/2014/main" id="{6C5CDCC8-2A53-9CAB-11ED-5B2E6CB04C1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572983" y="3548218"/>
            <a:ext cx="395815" cy="377824"/>
          </a:xfrm>
          <a:prstGeom prst="rect">
            <a:avLst/>
          </a:prstGeom>
        </p:spPr>
      </p:pic>
      <p:pic>
        <p:nvPicPr>
          <p:cNvPr id="11" name="ESEC SYNC">
            <a:extLst>
              <a:ext uri="{FF2B5EF4-FFF2-40B4-BE49-F238E27FC236}">
                <a16:creationId xmlns:a16="http://schemas.microsoft.com/office/drawing/2014/main" id="{05E406FD-91BC-37E8-BDCE-7C878B24B33C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570713" y="4138563"/>
            <a:ext cx="395814" cy="377822"/>
          </a:xfrm>
          <a:prstGeom prst="rect">
            <a:avLst/>
          </a:prstGeom>
        </p:spPr>
      </p:pic>
      <p:pic>
        <p:nvPicPr>
          <p:cNvPr id="12" name="Exchange Server">
            <a:extLst>
              <a:ext uri="{FF2B5EF4-FFF2-40B4-BE49-F238E27FC236}">
                <a16:creationId xmlns:a16="http://schemas.microsoft.com/office/drawing/2014/main" id="{0F840436-D62A-DF10-983E-AAB16BFF363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63579" y="2258280"/>
            <a:ext cx="497863" cy="485720"/>
          </a:xfrm>
          <a:prstGeom prst="rect">
            <a:avLst/>
          </a:prstGeom>
        </p:spPr>
      </p:pic>
      <p:pic>
        <p:nvPicPr>
          <p:cNvPr id="13" name="Outlook On-Premises">
            <a:extLst>
              <a:ext uri="{FF2B5EF4-FFF2-40B4-BE49-F238E27FC236}">
                <a16:creationId xmlns:a16="http://schemas.microsoft.com/office/drawing/2014/main" id="{78A1584B-C762-BD53-3EBC-C5416C643B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3635" y="3575920"/>
            <a:ext cx="333278" cy="333278"/>
          </a:xfrm>
          <a:prstGeom prst="rect">
            <a:avLst/>
          </a:prstGeom>
        </p:spPr>
      </p:pic>
      <p:pic>
        <p:nvPicPr>
          <p:cNvPr id="14" name="Outlook EXO">
            <a:extLst>
              <a:ext uri="{FF2B5EF4-FFF2-40B4-BE49-F238E27FC236}">
                <a16:creationId xmlns:a16="http://schemas.microsoft.com/office/drawing/2014/main" id="{F6C4CDD2-B68C-2D55-C838-4637D4AB840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59843" y="3592764"/>
            <a:ext cx="333278" cy="333278"/>
          </a:xfrm>
          <a:prstGeom prst="rect">
            <a:avLst/>
          </a:prstGeom>
        </p:spPr>
      </p:pic>
      <p:pic>
        <p:nvPicPr>
          <p:cNvPr id="15" name="Teams">
            <a:extLst>
              <a:ext uri="{FF2B5EF4-FFF2-40B4-BE49-F238E27FC236}">
                <a16:creationId xmlns:a16="http://schemas.microsoft.com/office/drawing/2014/main" id="{8B7F3C60-547E-CE0C-861F-C6553E017F7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88661" y="3027112"/>
            <a:ext cx="333278" cy="333278"/>
          </a:xfrm>
          <a:prstGeom prst="rect">
            <a:avLst/>
          </a:prstGeom>
        </p:spPr>
      </p:pic>
      <p:sp>
        <p:nvSpPr>
          <p:cNvPr id="16" name="Geschweifte Klammer rechts OP">
            <a:extLst>
              <a:ext uri="{FF2B5EF4-FFF2-40B4-BE49-F238E27FC236}">
                <a16:creationId xmlns:a16="http://schemas.microsoft.com/office/drawing/2014/main" id="{0A6C7B9B-397E-3BCE-DC7C-3B4D68C35C5E}"/>
              </a:ext>
            </a:extLst>
          </p:cNvPr>
          <p:cNvSpPr/>
          <p:nvPr/>
        </p:nvSpPr>
        <p:spPr>
          <a:xfrm>
            <a:off x="2450666" y="2945185"/>
            <a:ext cx="333278" cy="1581798"/>
          </a:xfrm>
          <a:prstGeom prst="rightBrac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Geschweifte Klammer links AAD">
            <a:extLst>
              <a:ext uri="{FF2B5EF4-FFF2-40B4-BE49-F238E27FC236}">
                <a16:creationId xmlns:a16="http://schemas.microsoft.com/office/drawing/2014/main" id="{E95D9E0F-438D-7F81-CE97-5732F19BA77F}"/>
              </a:ext>
            </a:extLst>
          </p:cNvPr>
          <p:cNvSpPr/>
          <p:nvPr/>
        </p:nvSpPr>
        <p:spPr>
          <a:xfrm flipH="1">
            <a:off x="8194439" y="2956126"/>
            <a:ext cx="333278" cy="1581798"/>
          </a:xfrm>
          <a:prstGeom prst="rightBrac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8" name="DL CO">
            <a:extLst>
              <a:ext uri="{FF2B5EF4-FFF2-40B4-BE49-F238E27FC236}">
                <a16:creationId xmlns:a16="http://schemas.microsoft.com/office/drawing/2014/main" id="{B57032DB-A124-D5D9-755E-6CA838E2CA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61990" y="2940016"/>
            <a:ext cx="395817" cy="377825"/>
          </a:xfrm>
          <a:prstGeom prst="rect">
            <a:avLst/>
          </a:prstGeom>
        </p:spPr>
      </p:pic>
      <p:pic>
        <p:nvPicPr>
          <p:cNvPr id="19" name="SEC AAD">
            <a:extLst>
              <a:ext uri="{FF2B5EF4-FFF2-40B4-BE49-F238E27FC236}">
                <a16:creationId xmlns:a16="http://schemas.microsoft.com/office/drawing/2014/main" id="{54998ED4-21C8-72F2-F736-62C1CD44A3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64263" y="3553647"/>
            <a:ext cx="395815" cy="377824"/>
          </a:xfrm>
          <a:prstGeom prst="rect">
            <a:avLst/>
          </a:prstGeom>
        </p:spPr>
      </p:pic>
      <p:pic>
        <p:nvPicPr>
          <p:cNvPr id="20" name="ESEC AAD">
            <a:extLst>
              <a:ext uri="{FF2B5EF4-FFF2-40B4-BE49-F238E27FC236}">
                <a16:creationId xmlns:a16="http://schemas.microsoft.com/office/drawing/2014/main" id="{7B897248-C92F-B694-E97E-39E07DADD30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61993" y="4143992"/>
            <a:ext cx="395814" cy="377822"/>
          </a:xfrm>
          <a:prstGeom prst="rect">
            <a:avLst/>
          </a:prstGeom>
        </p:spPr>
      </p:pic>
      <p:sp>
        <p:nvSpPr>
          <p:cNvPr id="21" name="SOA AD">
            <a:extLst>
              <a:ext uri="{FF2B5EF4-FFF2-40B4-BE49-F238E27FC236}">
                <a16:creationId xmlns:a16="http://schemas.microsoft.com/office/drawing/2014/main" id="{C0299984-94BE-8120-363B-2B5803DAB718}"/>
              </a:ext>
            </a:extLst>
          </p:cNvPr>
          <p:cNvSpPr txBox="1"/>
          <p:nvPr/>
        </p:nvSpPr>
        <p:spPr>
          <a:xfrm>
            <a:off x="1939792" y="2664570"/>
            <a:ext cx="594567" cy="247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1050" dirty="0"/>
              <a:t>SOA</a:t>
            </a:r>
          </a:p>
        </p:txBody>
      </p:sp>
      <p:cxnSp>
        <p:nvCxnSpPr>
          <p:cNvPr id="22" name="AADC-AD">
            <a:extLst>
              <a:ext uri="{FF2B5EF4-FFF2-40B4-BE49-F238E27FC236}">
                <a16:creationId xmlns:a16="http://schemas.microsoft.com/office/drawing/2014/main" id="{66B80C61-3D3C-DBE4-FF50-2FF8FF9C7C7E}"/>
              </a:ext>
            </a:extLst>
          </p:cNvPr>
          <p:cNvCxnSpPr>
            <a:stCxn id="16" idx="1"/>
            <a:endCxn id="37" idx="1"/>
          </p:cNvCxnSpPr>
          <p:nvPr/>
        </p:nvCxnSpPr>
        <p:spPr>
          <a:xfrm>
            <a:off x="2783944" y="3736084"/>
            <a:ext cx="1901686" cy="8015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AAD-AAD">
            <a:extLst>
              <a:ext uri="{FF2B5EF4-FFF2-40B4-BE49-F238E27FC236}">
                <a16:creationId xmlns:a16="http://schemas.microsoft.com/office/drawing/2014/main" id="{E57680AD-BACA-E4CD-0AC4-E24E709E1682}"/>
              </a:ext>
            </a:extLst>
          </p:cNvPr>
          <p:cNvCxnSpPr>
            <a:stCxn id="17" idx="1"/>
            <a:endCxn id="37" idx="3"/>
          </p:cNvCxnSpPr>
          <p:nvPr/>
        </p:nvCxnSpPr>
        <p:spPr>
          <a:xfrm flipH="1" flipV="1">
            <a:off x="5123687" y="3744099"/>
            <a:ext cx="3070752" cy="2926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Geschweifte Klammer links OP">
            <a:extLst>
              <a:ext uri="{FF2B5EF4-FFF2-40B4-BE49-F238E27FC236}">
                <a16:creationId xmlns:a16="http://schemas.microsoft.com/office/drawing/2014/main" id="{4CCE5993-0614-DBAE-6038-B17DC653347E}"/>
              </a:ext>
            </a:extLst>
          </p:cNvPr>
          <p:cNvSpPr/>
          <p:nvPr/>
        </p:nvSpPr>
        <p:spPr>
          <a:xfrm flipH="1">
            <a:off x="1650814" y="2945185"/>
            <a:ext cx="333278" cy="1581798"/>
          </a:xfrm>
          <a:prstGeom prst="rightBrac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Geschweifte Klammer rechts AAD">
            <a:extLst>
              <a:ext uri="{FF2B5EF4-FFF2-40B4-BE49-F238E27FC236}">
                <a16:creationId xmlns:a16="http://schemas.microsoft.com/office/drawing/2014/main" id="{D503EAC5-8F92-630E-D09D-FE1B221B31C7}"/>
              </a:ext>
            </a:extLst>
          </p:cNvPr>
          <p:cNvSpPr/>
          <p:nvPr/>
        </p:nvSpPr>
        <p:spPr>
          <a:xfrm>
            <a:off x="9642608" y="2945185"/>
            <a:ext cx="333278" cy="2166984"/>
          </a:xfrm>
          <a:prstGeom prst="rightBrace">
            <a:avLst>
              <a:gd name="adj1" fmla="val 8333"/>
              <a:gd name="adj2" fmla="val 37253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SOA AAD">
            <a:extLst>
              <a:ext uri="{FF2B5EF4-FFF2-40B4-BE49-F238E27FC236}">
                <a16:creationId xmlns:a16="http://schemas.microsoft.com/office/drawing/2014/main" id="{D6A6DFDB-B329-F411-4A80-5B595834EC05}"/>
              </a:ext>
            </a:extLst>
          </p:cNvPr>
          <p:cNvSpPr txBox="1"/>
          <p:nvPr/>
        </p:nvSpPr>
        <p:spPr>
          <a:xfrm>
            <a:off x="9063239" y="2664570"/>
            <a:ext cx="594567" cy="247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1050"/>
              <a:t>SOA</a:t>
            </a:r>
          </a:p>
        </p:txBody>
      </p:sp>
      <p:sp>
        <p:nvSpPr>
          <p:cNvPr id="27" name="SOA Rahmen AAD">
            <a:extLst>
              <a:ext uri="{FF2B5EF4-FFF2-40B4-BE49-F238E27FC236}">
                <a16:creationId xmlns:a16="http://schemas.microsoft.com/office/drawing/2014/main" id="{3316EDDC-5286-DAE0-B636-1EC3C7A0578E}"/>
              </a:ext>
            </a:extLst>
          </p:cNvPr>
          <p:cNvSpPr/>
          <p:nvPr/>
        </p:nvSpPr>
        <p:spPr>
          <a:xfrm>
            <a:off x="9111674" y="2898776"/>
            <a:ext cx="500425" cy="2273299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grpSp>
        <p:nvGrpSpPr>
          <p:cNvPr id="28" name="Adressbuch On-Premises">
            <a:extLst>
              <a:ext uri="{FF2B5EF4-FFF2-40B4-BE49-F238E27FC236}">
                <a16:creationId xmlns:a16="http://schemas.microsoft.com/office/drawing/2014/main" id="{30A7891B-68A6-B770-A9FE-1FDBAE62D9C1}"/>
              </a:ext>
            </a:extLst>
          </p:cNvPr>
          <p:cNvGrpSpPr/>
          <p:nvPr/>
        </p:nvGrpSpPr>
        <p:grpSpPr>
          <a:xfrm>
            <a:off x="901088" y="3577461"/>
            <a:ext cx="777889" cy="588457"/>
            <a:chOff x="608071" y="2839273"/>
            <a:chExt cx="777889" cy="588457"/>
          </a:xfrm>
        </p:grpSpPr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9A7FB8D5-76C8-EB71-3A84-9260C667AD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20327" y="2839273"/>
              <a:ext cx="380888" cy="333277"/>
            </a:xfrm>
            <a:prstGeom prst="rect">
              <a:avLst/>
            </a:prstGeom>
          </p:spPr>
        </p:pic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454B36F0-FDB2-06E3-C4B1-4D601B165B20}"/>
                </a:ext>
              </a:extLst>
            </p:cNvPr>
            <p:cNvSpPr txBox="1"/>
            <p:nvPr/>
          </p:nvSpPr>
          <p:spPr>
            <a:xfrm>
              <a:off x="608071" y="3118863"/>
              <a:ext cx="777889" cy="3088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5000"/>
                </a:lnSpc>
                <a:buClr>
                  <a:schemeClr val="accent1"/>
                </a:buClr>
              </a:pPr>
              <a:r>
                <a:rPr lang="de-DE" sz="700" dirty="0"/>
                <a:t>Adressbuch</a:t>
              </a:r>
              <a:br>
                <a:rPr lang="de-DE" sz="700" dirty="0"/>
              </a:br>
              <a:r>
                <a:rPr lang="de-DE" sz="700" dirty="0"/>
                <a:t>On-Premises</a:t>
              </a:r>
            </a:p>
          </p:txBody>
        </p:sp>
      </p:grpSp>
      <p:grpSp>
        <p:nvGrpSpPr>
          <p:cNvPr id="31" name="Adressbuch EXO">
            <a:extLst>
              <a:ext uri="{FF2B5EF4-FFF2-40B4-BE49-F238E27FC236}">
                <a16:creationId xmlns:a16="http://schemas.microsoft.com/office/drawing/2014/main" id="{EC2F9B14-4A9A-A24C-D36F-9A4B9A7D4F81}"/>
              </a:ext>
            </a:extLst>
          </p:cNvPr>
          <p:cNvGrpSpPr/>
          <p:nvPr/>
        </p:nvGrpSpPr>
        <p:grpSpPr>
          <a:xfrm>
            <a:off x="9765081" y="3593888"/>
            <a:ext cx="777889" cy="698237"/>
            <a:chOff x="7821981" y="2855700"/>
            <a:chExt cx="777889" cy="698237"/>
          </a:xfrm>
        </p:grpSpPr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FD0286DE-24AC-4BD8-CDAC-DE19D85860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020482" y="2855700"/>
              <a:ext cx="380888" cy="333277"/>
            </a:xfrm>
            <a:prstGeom prst="rect">
              <a:avLst/>
            </a:prstGeom>
          </p:spPr>
        </p:pic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C53A80FB-D24C-A454-2FBD-D264BC378649}"/>
                </a:ext>
              </a:extLst>
            </p:cNvPr>
            <p:cNvSpPr txBox="1"/>
            <p:nvPr/>
          </p:nvSpPr>
          <p:spPr>
            <a:xfrm>
              <a:off x="7821981" y="3131962"/>
              <a:ext cx="777889" cy="4219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5000"/>
                </a:lnSpc>
                <a:buClr>
                  <a:schemeClr val="accent1"/>
                </a:buClr>
              </a:pPr>
              <a:r>
                <a:rPr lang="de-DE" sz="700" dirty="0"/>
                <a:t>Adressbuch</a:t>
              </a:r>
              <a:br>
                <a:rPr lang="de-DE" sz="700" dirty="0"/>
              </a:br>
              <a:r>
                <a:rPr lang="de-DE" sz="700" dirty="0"/>
                <a:t>Exchange Online</a:t>
              </a:r>
            </a:p>
          </p:txBody>
        </p:sp>
      </p:grpSp>
      <p:pic>
        <p:nvPicPr>
          <p:cNvPr id="34" name="EXO DS">
            <a:extLst>
              <a:ext uri="{FF2B5EF4-FFF2-40B4-BE49-F238E27FC236}">
                <a16:creationId xmlns:a16="http://schemas.microsoft.com/office/drawing/2014/main" id="{F8AD4E90-3C95-AB40-A2B6-1B93EAAF97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75886" y="2052142"/>
            <a:ext cx="264976" cy="247505"/>
          </a:xfrm>
          <a:prstGeom prst="rect">
            <a:avLst/>
          </a:prstGeom>
        </p:spPr>
      </p:pic>
      <p:pic>
        <p:nvPicPr>
          <p:cNvPr id="35" name="EXO">
            <a:extLst>
              <a:ext uri="{FF2B5EF4-FFF2-40B4-BE49-F238E27FC236}">
                <a16:creationId xmlns:a16="http://schemas.microsoft.com/office/drawing/2014/main" id="{92991347-082C-BB67-3781-B77ABB73FD8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893770" y="2298847"/>
            <a:ext cx="390525" cy="352425"/>
          </a:xfrm>
          <a:prstGeom prst="rect">
            <a:avLst/>
          </a:prstGeom>
        </p:spPr>
      </p:pic>
      <p:grpSp>
        <p:nvGrpSpPr>
          <p:cNvPr id="36" name="AAD Connect">
            <a:extLst>
              <a:ext uri="{FF2B5EF4-FFF2-40B4-BE49-F238E27FC236}">
                <a16:creationId xmlns:a16="http://schemas.microsoft.com/office/drawing/2014/main" id="{BB2B860A-3D27-705E-5EC7-06BC6D10A62F}"/>
              </a:ext>
            </a:extLst>
          </p:cNvPr>
          <p:cNvGrpSpPr/>
          <p:nvPr/>
        </p:nvGrpSpPr>
        <p:grpSpPr>
          <a:xfrm>
            <a:off x="4476072" y="3489066"/>
            <a:ext cx="777889" cy="752897"/>
            <a:chOff x="4183055" y="2750878"/>
            <a:chExt cx="777889" cy="752897"/>
          </a:xfrm>
        </p:grpSpPr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F8145611-374B-F929-49CA-68649F9751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392613" y="2750878"/>
              <a:ext cx="438057" cy="510066"/>
            </a:xfrm>
            <a:prstGeom prst="rect">
              <a:avLst/>
            </a:prstGeom>
          </p:spPr>
        </p:pic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D4CC8FB0-AFAD-EB7D-EA85-DC6ABD10FCD4}"/>
                </a:ext>
              </a:extLst>
            </p:cNvPr>
            <p:cNvSpPr txBox="1"/>
            <p:nvPr/>
          </p:nvSpPr>
          <p:spPr>
            <a:xfrm>
              <a:off x="4183055" y="3194908"/>
              <a:ext cx="777889" cy="3088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5000"/>
                </a:lnSpc>
                <a:buClr>
                  <a:schemeClr val="accent1"/>
                </a:buClr>
              </a:pPr>
              <a:r>
                <a:rPr lang="de-DE" sz="700"/>
                <a:t>Azure AD Connect 2.0</a:t>
              </a:r>
            </a:p>
          </p:txBody>
        </p:sp>
      </p:grpSp>
      <p:sp>
        <p:nvSpPr>
          <p:cNvPr id="39" name="Rahmen OP">
            <a:extLst>
              <a:ext uri="{FF2B5EF4-FFF2-40B4-BE49-F238E27FC236}">
                <a16:creationId xmlns:a16="http://schemas.microsoft.com/office/drawing/2014/main" id="{35E0AA23-E1E8-E0FD-1CDE-E9C4A2EE1CFD}"/>
              </a:ext>
            </a:extLst>
          </p:cNvPr>
          <p:cNvSpPr/>
          <p:nvPr/>
        </p:nvSpPr>
        <p:spPr>
          <a:xfrm>
            <a:off x="486996" y="1758982"/>
            <a:ext cx="4853921" cy="36182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5000"/>
              </a:lnSpc>
              <a:buClr>
                <a:schemeClr val="accent1"/>
              </a:buClr>
            </a:pPr>
            <a:r>
              <a:rPr lang="de-DE" sz="1050">
                <a:solidFill>
                  <a:schemeClr val="tx1"/>
                </a:solidFill>
              </a:rPr>
              <a:t>Lokal</a:t>
            </a:r>
          </a:p>
        </p:txBody>
      </p:sp>
      <p:sp>
        <p:nvSpPr>
          <p:cNvPr id="40" name="Rahmen M365">
            <a:extLst>
              <a:ext uri="{FF2B5EF4-FFF2-40B4-BE49-F238E27FC236}">
                <a16:creationId xmlns:a16="http://schemas.microsoft.com/office/drawing/2014/main" id="{DE6C51F8-99EE-6A77-A1DB-75DDC6630A73}"/>
              </a:ext>
            </a:extLst>
          </p:cNvPr>
          <p:cNvSpPr/>
          <p:nvPr/>
        </p:nvSpPr>
        <p:spPr>
          <a:xfrm>
            <a:off x="7457574" y="1758982"/>
            <a:ext cx="3565558" cy="36182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5000"/>
              </a:lnSpc>
              <a:buClr>
                <a:schemeClr val="accent1"/>
              </a:buClr>
            </a:pPr>
            <a:r>
              <a:rPr lang="de-DE" sz="1050">
                <a:solidFill>
                  <a:schemeClr val="tx1"/>
                </a:solidFill>
              </a:rPr>
              <a:t>Microsoft 365</a:t>
            </a:r>
          </a:p>
        </p:txBody>
      </p:sp>
      <p:sp>
        <p:nvSpPr>
          <p:cNvPr id="41" name="AAD Label 2">
            <a:extLst>
              <a:ext uri="{FF2B5EF4-FFF2-40B4-BE49-F238E27FC236}">
                <a16:creationId xmlns:a16="http://schemas.microsoft.com/office/drawing/2014/main" id="{3E343736-F77D-FF7B-8104-EBBA43F7B62C}"/>
              </a:ext>
            </a:extLst>
          </p:cNvPr>
          <p:cNvSpPr txBox="1"/>
          <p:nvPr/>
        </p:nvSpPr>
        <p:spPr>
          <a:xfrm>
            <a:off x="2685493" y="3570418"/>
            <a:ext cx="2015165" cy="344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800" dirty="0"/>
              <a:t>Zurückschreiben einzelner Attribute</a:t>
            </a:r>
            <a:br>
              <a:rPr lang="de-DE" sz="800" dirty="0"/>
            </a:br>
            <a:r>
              <a:rPr lang="de-DE" sz="800" dirty="0"/>
              <a:t>z.B. </a:t>
            </a:r>
            <a:r>
              <a:rPr lang="de-DE" sz="800" b="0" i="1" dirty="0" err="1">
                <a:solidFill>
                  <a:srgbClr val="161616"/>
                </a:solidFill>
                <a:effectLst/>
                <a:latin typeface="Segoe UI" panose="020B0502040204020203" pitchFamily="34" charset="0"/>
              </a:rPr>
              <a:t>mS</a:t>
            </a:r>
            <a:r>
              <a:rPr lang="de-DE" sz="800" b="0" i="1" dirty="0">
                <a:solidFill>
                  <a:srgbClr val="161616"/>
                </a:solidFill>
                <a:effectLst/>
                <a:latin typeface="Segoe UI" panose="020B0502040204020203" pitchFamily="34" charset="0"/>
              </a:rPr>
              <a:t>-DS-</a:t>
            </a:r>
            <a:r>
              <a:rPr lang="de-DE" sz="800" b="0" i="1" dirty="0" err="1">
                <a:solidFill>
                  <a:srgbClr val="161616"/>
                </a:solidFill>
                <a:effectLst/>
                <a:latin typeface="Segoe UI" panose="020B0502040204020203" pitchFamily="34" charset="0"/>
              </a:rPr>
              <a:t>ConsistencyGuid</a:t>
            </a:r>
            <a:endParaRPr lang="de-DE" sz="800" i="1" dirty="0"/>
          </a:p>
        </p:txBody>
      </p:sp>
      <p:sp>
        <p:nvSpPr>
          <p:cNvPr id="42" name="SOA Rahmen AAD">
            <a:extLst>
              <a:ext uri="{FF2B5EF4-FFF2-40B4-BE49-F238E27FC236}">
                <a16:creationId xmlns:a16="http://schemas.microsoft.com/office/drawing/2014/main" id="{C7BCA07F-6327-DFA5-F006-ADA4EB3FAEAC}"/>
              </a:ext>
            </a:extLst>
          </p:cNvPr>
          <p:cNvSpPr/>
          <p:nvPr/>
        </p:nvSpPr>
        <p:spPr>
          <a:xfrm>
            <a:off x="1966647" y="2882833"/>
            <a:ext cx="500425" cy="1728787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sp>
        <p:nvSpPr>
          <p:cNvPr id="44" name="SOA AD">
            <a:extLst>
              <a:ext uri="{FF2B5EF4-FFF2-40B4-BE49-F238E27FC236}">
                <a16:creationId xmlns:a16="http://schemas.microsoft.com/office/drawing/2014/main" id="{18EEB8C9-7090-215F-670F-029DFBDB9C6B}"/>
              </a:ext>
            </a:extLst>
          </p:cNvPr>
          <p:cNvSpPr txBox="1"/>
          <p:nvPr/>
        </p:nvSpPr>
        <p:spPr>
          <a:xfrm>
            <a:off x="486996" y="6366494"/>
            <a:ext cx="8083714" cy="2551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  <a:buClr>
                <a:schemeClr val="accent1"/>
              </a:buClr>
            </a:pPr>
            <a:r>
              <a:rPr lang="de-DE" sz="1050" dirty="0"/>
              <a:t>SOA = Source </a:t>
            </a:r>
            <a:r>
              <a:rPr lang="de-DE" sz="1050" dirty="0" err="1"/>
              <a:t>of</a:t>
            </a:r>
            <a:r>
              <a:rPr lang="de-DE" sz="1050" dirty="0"/>
              <a:t> Authority, Quelle der Autorität für Identitäten</a:t>
            </a:r>
          </a:p>
        </p:txBody>
      </p:sp>
      <p:pic>
        <p:nvPicPr>
          <p:cNvPr id="3" name="M365 GRP AAD">
            <a:extLst>
              <a:ext uri="{FF2B5EF4-FFF2-40B4-BE49-F238E27FC236}">
                <a16:creationId xmlns:a16="http://schemas.microsoft.com/office/drawing/2014/main" id="{3BDCD3E1-817C-7246-B179-99E27EAFEF7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152089" y="4734335"/>
            <a:ext cx="415617" cy="377834"/>
          </a:xfrm>
          <a:prstGeom prst="rect">
            <a:avLst/>
          </a:prstGeom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C4F90E76-416A-AC23-A8AB-F2655C2B5344}"/>
              </a:ext>
            </a:extLst>
          </p:cNvPr>
          <p:cNvSpPr txBox="1"/>
          <p:nvPr/>
        </p:nvSpPr>
        <p:spPr>
          <a:xfrm>
            <a:off x="9714045" y="4774422"/>
            <a:ext cx="879959" cy="308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700" dirty="0"/>
              <a:t>Microsoft 365 Gruppe</a:t>
            </a:r>
          </a:p>
        </p:txBody>
      </p:sp>
      <p:pic>
        <p:nvPicPr>
          <p:cNvPr id="45" name="AD OU">
            <a:extLst>
              <a:ext uri="{FF2B5EF4-FFF2-40B4-BE49-F238E27FC236}">
                <a16:creationId xmlns:a16="http://schemas.microsoft.com/office/drawing/2014/main" id="{E484EEBC-6733-7EA0-80AE-0B324A4DB05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11954" y="4195701"/>
            <a:ext cx="1187438" cy="1138971"/>
          </a:xfrm>
          <a:prstGeom prst="rect">
            <a:avLst/>
          </a:prstGeom>
        </p:spPr>
      </p:pic>
      <p:cxnSp>
        <p:nvCxnSpPr>
          <p:cNvPr id="46" name="GRP OP">
            <a:extLst>
              <a:ext uri="{FF2B5EF4-FFF2-40B4-BE49-F238E27FC236}">
                <a16:creationId xmlns:a16="http://schemas.microsoft.com/office/drawing/2014/main" id="{7A773BB3-732A-A867-A235-1EDFD10AA37F}"/>
              </a:ext>
            </a:extLst>
          </p:cNvPr>
          <p:cNvCxnSpPr>
            <a:cxnSpLocks/>
          </p:cNvCxnSpPr>
          <p:nvPr/>
        </p:nvCxnSpPr>
        <p:spPr>
          <a:xfrm rot="10800000" flipV="1">
            <a:off x="1494232" y="3889069"/>
            <a:ext cx="3182962" cy="1194220"/>
          </a:xfrm>
          <a:prstGeom prst="bentConnector3">
            <a:avLst>
              <a:gd name="adj1" fmla="val 840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M365 GRP OP">
            <a:extLst>
              <a:ext uri="{FF2B5EF4-FFF2-40B4-BE49-F238E27FC236}">
                <a16:creationId xmlns:a16="http://schemas.microsoft.com/office/drawing/2014/main" id="{F2B76AA4-CAB7-2D98-F605-B035BB92B8FB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008305" y="4703727"/>
            <a:ext cx="415617" cy="377834"/>
          </a:xfrm>
          <a:prstGeom prst="rect">
            <a:avLst/>
          </a:prstGeom>
        </p:spPr>
      </p:pic>
      <p:cxnSp>
        <p:nvCxnSpPr>
          <p:cNvPr id="48" name="GRP AAD">
            <a:extLst>
              <a:ext uri="{FF2B5EF4-FFF2-40B4-BE49-F238E27FC236}">
                <a16:creationId xmlns:a16="http://schemas.microsoft.com/office/drawing/2014/main" id="{65628FE8-5543-5FE9-6350-AB85A3485B4E}"/>
              </a:ext>
            </a:extLst>
          </p:cNvPr>
          <p:cNvCxnSpPr>
            <a:cxnSpLocks/>
          </p:cNvCxnSpPr>
          <p:nvPr/>
        </p:nvCxnSpPr>
        <p:spPr>
          <a:xfrm>
            <a:off x="5123687" y="3901602"/>
            <a:ext cx="3857976" cy="1086829"/>
          </a:xfrm>
          <a:prstGeom prst="bentConnector3">
            <a:avLst>
              <a:gd name="adj1" fmla="val 50000"/>
            </a:avLst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AAD Label 2">
            <a:extLst>
              <a:ext uri="{FF2B5EF4-FFF2-40B4-BE49-F238E27FC236}">
                <a16:creationId xmlns:a16="http://schemas.microsoft.com/office/drawing/2014/main" id="{20F07898-F6D5-CC4B-1B5A-83A19E0DE2A4}"/>
              </a:ext>
            </a:extLst>
          </p:cNvPr>
          <p:cNvSpPr txBox="1"/>
          <p:nvPr/>
        </p:nvSpPr>
        <p:spPr>
          <a:xfrm>
            <a:off x="2318170" y="4923252"/>
            <a:ext cx="2015165" cy="344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800" dirty="0"/>
              <a:t>Zurückschreiben von</a:t>
            </a:r>
            <a:br>
              <a:rPr lang="de-DE" sz="800" dirty="0"/>
            </a:br>
            <a:r>
              <a:rPr lang="de-DE" sz="800" dirty="0"/>
              <a:t>z.B. </a:t>
            </a:r>
            <a:r>
              <a:rPr lang="de-DE" sz="800" i="1" dirty="0" err="1"/>
              <a:t>HiddenFromAddressListsEnabled</a:t>
            </a:r>
            <a:endParaRPr lang="de-DE" sz="800" i="1" dirty="0"/>
          </a:p>
        </p:txBody>
      </p:sp>
    </p:spTree>
    <p:extLst>
      <p:ext uri="{BB962C8B-B14F-4D97-AF65-F5344CB8AC3E}">
        <p14:creationId xmlns:p14="http://schemas.microsoft.com/office/powerpoint/2010/main" val="2230403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B43A0D-EAD2-EF12-B8DE-D070D4C08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uppenzurückschreib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F229CF-3778-BD68-798D-80584F7A60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Alle Microsoft 365 Gruppen werden </a:t>
            </a:r>
            <a:r>
              <a:rPr lang="de-DE" b="1" dirty="0"/>
              <a:t>im Standard </a:t>
            </a:r>
            <a:r>
              <a:rPr lang="de-DE" dirty="0"/>
              <a:t>als universelle Verteilergruppe zurückgeschrieben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Azure AD Connect Vorschaufunktionen</a:t>
            </a:r>
          </a:p>
          <a:p>
            <a:r>
              <a:rPr lang="de-DE" dirty="0"/>
              <a:t>Zurückschreiben ausgewählter Microsoft 365 Gruppen</a:t>
            </a:r>
          </a:p>
          <a:p>
            <a:r>
              <a:rPr lang="de-DE" dirty="0"/>
              <a:t>Auswahl des Gruppentyps für das lokale Active Directory</a:t>
            </a:r>
          </a:p>
          <a:p>
            <a:pPr lvl="1"/>
            <a:r>
              <a:rPr lang="de-DE" dirty="0"/>
              <a:t>Universelle Verteilerliste</a:t>
            </a:r>
          </a:p>
          <a:p>
            <a:pPr lvl="1"/>
            <a:r>
              <a:rPr lang="de-DE" dirty="0"/>
              <a:t>Universelle Sicherheitsgruppe</a:t>
            </a:r>
          </a:p>
          <a:p>
            <a:pPr lvl="1"/>
            <a:r>
              <a:rPr lang="de-DE" dirty="0"/>
              <a:t>Universelle E-Mail-aktivierte Sicherheitsgruppe</a:t>
            </a:r>
          </a:p>
          <a:p>
            <a:r>
              <a:rPr lang="de-DE" dirty="0"/>
              <a:t>Azure AD P1 Voraussetzung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2958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0E8EAA7-76C4-4D2B-81CE-57CA4627D3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-Mail-Flus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4140262-613E-47E0-8110-F2C2EDE2EF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4546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0D2480-4B55-912B-0F41-8B6BC79861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hängigkeiten für Gruppen E-Mail-Adress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495C25F-182D-30F9-7961-B78719B885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icrosoft 365 Standarddomäne ist auch die Standarddomäne für Gruppen E-Mail-Adressen</a:t>
            </a:r>
          </a:p>
          <a:p>
            <a:r>
              <a:rPr lang="de-DE" dirty="0"/>
              <a:t>AAD Connect Gruppenzuschreiben ermöglicht eine lokale Exchange-Adressauflösung</a:t>
            </a:r>
          </a:p>
          <a:p>
            <a:r>
              <a:rPr lang="de-DE" dirty="0"/>
              <a:t>Separate Gruppendomäne ermöglicht das richtige E-Mail-Routing mit Exchange Hybrid</a:t>
            </a:r>
          </a:p>
          <a:p>
            <a:pPr lvl="1"/>
            <a:r>
              <a:rPr lang="de-DE" dirty="0"/>
              <a:t>MX für M365 Gruppen E-Mail-Domäne muss auf Exchange Online zeigen</a:t>
            </a:r>
          </a:p>
          <a:p>
            <a:r>
              <a:rPr lang="de-DE" dirty="0"/>
              <a:t>Einrichtung einer E-Mail-Adressrichtlinie in Exchange Online möglich</a:t>
            </a:r>
          </a:p>
          <a:p>
            <a:r>
              <a:rPr lang="de-DE" dirty="0"/>
              <a:t>Verarbeitung und Zustellung von E-Mails an eine Microsoft 365 Gruppe unterscheiden sich von E-Mails an Teams-Kanäle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026238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FFEA92-93E6-716B-DFE6-1389629128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uppen- und Teams Kanal-E-Mai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D71097D-A9AC-644E-9C9B-17158F9A88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-Mails an eine Microsoft 365 Gruppe folgen dem Exchange Nachrichtenfluss</a:t>
            </a:r>
          </a:p>
          <a:p>
            <a:pPr marL="457200" lvl="1" indent="0">
              <a:buNone/>
            </a:pPr>
            <a:r>
              <a:rPr lang="de-DE" dirty="0"/>
              <a:t>Ziel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Posteingang des Gruppenpostfachs als E-Mail-Nachricht</a:t>
            </a:r>
          </a:p>
          <a:p>
            <a:endParaRPr lang="de-DE" dirty="0"/>
          </a:p>
          <a:p>
            <a:r>
              <a:rPr lang="de-DE" dirty="0"/>
              <a:t>E-Mails an einen Teams-Kanal werden direkt vom Teams Backend verarbeitet</a:t>
            </a:r>
          </a:p>
          <a:p>
            <a:pPr lvl="1"/>
            <a:r>
              <a:rPr lang="de-DE" dirty="0"/>
              <a:t>Ziele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Teams Kanal für den E-Mail-Inhalt, SharePoint Dokumentenbibliothek für Dateianhänge und EML-Nachricht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96834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0CE8DDA-F3B2-7464-76B6-01492D643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oft 365 Gruppen – Was gehört dazu?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F2E1E3D-40A8-15F9-AE50-1179C685248F}"/>
              </a:ext>
            </a:extLst>
          </p:cNvPr>
          <p:cNvSpPr/>
          <p:nvPr/>
        </p:nvSpPr>
        <p:spPr>
          <a:xfrm>
            <a:off x="4312702" y="1680486"/>
            <a:ext cx="3568555" cy="113891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Microsoft 365 Grupp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9FA3C4E-F0C9-6C1E-665A-C26710D313DA}"/>
              </a:ext>
            </a:extLst>
          </p:cNvPr>
          <p:cNvSpPr/>
          <p:nvPr/>
        </p:nvSpPr>
        <p:spPr>
          <a:xfrm>
            <a:off x="4312702" y="2819400"/>
            <a:ext cx="1783298" cy="88445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change Online Mailbox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82CC58B-83C9-CC0C-71A3-C38B474DF720}"/>
              </a:ext>
            </a:extLst>
          </p:cNvPr>
          <p:cNvSpPr/>
          <p:nvPr/>
        </p:nvSpPr>
        <p:spPr>
          <a:xfrm>
            <a:off x="6096000" y="2819400"/>
            <a:ext cx="1785257" cy="88445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SharePoint Online Team Si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6367DAE-E92D-DC12-0BE0-FAA46905D8D3}"/>
              </a:ext>
            </a:extLst>
          </p:cNvPr>
          <p:cNvSpPr/>
          <p:nvPr/>
        </p:nvSpPr>
        <p:spPr>
          <a:xfrm>
            <a:off x="4234065" y="1620657"/>
            <a:ext cx="3723869" cy="2177800"/>
          </a:xfrm>
          <a:prstGeom prst="rect">
            <a:avLst/>
          </a:prstGeom>
          <a:noFill/>
          <a:ln w="57150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736F066-EE83-F935-B65C-D3AD97F0980B}"/>
              </a:ext>
            </a:extLst>
          </p:cNvPr>
          <p:cNvSpPr/>
          <p:nvPr/>
        </p:nvSpPr>
        <p:spPr>
          <a:xfrm>
            <a:off x="219455" y="1621314"/>
            <a:ext cx="3347095" cy="2472773"/>
          </a:xfrm>
          <a:prstGeom prst="rect">
            <a:avLst/>
          </a:prstGeom>
          <a:noFill/>
          <a:ln w="952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t"/>
          <a:lstStyle/>
          <a:p>
            <a:r>
              <a:rPr lang="de-DE" b="1" dirty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gemeine Konfiguration</a:t>
            </a:r>
          </a:p>
          <a:p>
            <a:pPr marL="179388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9388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menskonvention für automatische Erstellung</a:t>
            </a:r>
          </a:p>
          <a:p>
            <a:pPr marL="179388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tzungszeitraum (Lebenszyklus) aller oder ausgewählter Gruppen</a:t>
            </a:r>
          </a:p>
          <a:p>
            <a:pPr marL="179388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llback-Eigentümerschaft bei fehlendem Gruppeneigentümer </a:t>
            </a:r>
          </a:p>
          <a:p>
            <a:pPr marL="179388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9388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chemeClr val="tx1"/>
                </a:solidFill>
                <a:highlight>
                  <a:srgbClr val="FFFF00"/>
                </a:highlight>
                <a:latin typeface="Segoe UI" panose="020B0502040204020203" pitchFamily="34" charset="0"/>
                <a:cs typeface="Segoe UI" panose="020B0502040204020203" pitchFamily="34" charset="0"/>
              </a:rPr>
              <a:t>Subdomäne für Gruppen E-Mail-Adressen bei Exchange Hybridbetrie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E9492AF-CCA6-852F-29D1-4167AD0677D1}"/>
              </a:ext>
            </a:extLst>
          </p:cNvPr>
          <p:cNvSpPr/>
          <p:nvPr/>
        </p:nvSpPr>
        <p:spPr>
          <a:xfrm>
            <a:off x="3940629" y="4094087"/>
            <a:ext cx="4321627" cy="1991027"/>
          </a:xfrm>
          <a:prstGeom prst="rect">
            <a:avLst/>
          </a:prstGeom>
          <a:noFill/>
          <a:ln w="952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t"/>
          <a:lstStyle/>
          <a:p>
            <a:r>
              <a:rPr lang="de-DE" b="1" dirty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onfiguration je Gruppe</a:t>
            </a:r>
          </a:p>
          <a:p>
            <a:pPr marL="179388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9388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enschutzeinstellung </a:t>
            </a:r>
          </a:p>
          <a:p>
            <a:pPr marL="636588" lvl="1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ivat, Öffentlich</a:t>
            </a:r>
          </a:p>
          <a:p>
            <a:pPr marL="179388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ynamische Mitgliedschaft (nur via Azure AD)</a:t>
            </a:r>
          </a:p>
          <a:p>
            <a:pPr marL="179388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rtraulichkeitsbezeichnung</a:t>
            </a:r>
          </a:p>
          <a:p>
            <a:pPr marL="179388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chemeClr val="tx1"/>
                </a:solidFill>
                <a:highlight>
                  <a:srgbClr val="FFFF00"/>
                </a:highlight>
                <a:latin typeface="Segoe UI" panose="020B0502040204020203" pitchFamily="34" charset="0"/>
                <a:cs typeface="Segoe UI" panose="020B0502040204020203" pitchFamily="34" charset="0"/>
              </a:rPr>
              <a:t>Sende-Berechtigungen</a:t>
            </a:r>
          </a:p>
          <a:p>
            <a:pPr marL="179388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ams Site Template mit Ressourcen</a:t>
            </a:r>
          </a:p>
          <a:p>
            <a:pPr marL="636588" lvl="1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z.B. OneNo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6CE1CF2-2506-49B4-473E-144BD4FDF4EC}"/>
              </a:ext>
            </a:extLst>
          </p:cNvPr>
          <p:cNvSpPr/>
          <p:nvPr/>
        </p:nvSpPr>
        <p:spPr>
          <a:xfrm>
            <a:off x="8625449" y="1621315"/>
            <a:ext cx="3347096" cy="2472772"/>
          </a:xfrm>
          <a:prstGeom prst="rect">
            <a:avLst/>
          </a:prstGeom>
          <a:noFill/>
          <a:ln w="952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t"/>
          <a:lstStyle/>
          <a:p>
            <a:r>
              <a:rPr lang="de-DE" b="1" dirty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tgliedschaft</a:t>
            </a:r>
          </a:p>
          <a:p>
            <a:pPr marL="179388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9388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igentümer</a:t>
            </a:r>
          </a:p>
          <a:p>
            <a:pPr marL="636588" lvl="1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tgliedskonten des eigenen Mandanten</a:t>
            </a:r>
          </a:p>
          <a:p>
            <a:pPr marL="179388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tglieder</a:t>
            </a:r>
          </a:p>
          <a:p>
            <a:pPr marL="636588" lvl="1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tgliedskonten des eigenen Mandanten </a:t>
            </a:r>
          </a:p>
          <a:p>
            <a:pPr marL="636588" lvl="2" indent="-179388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terne Gastkonten</a:t>
            </a:r>
          </a:p>
          <a:p>
            <a:endParaRPr lang="de-DE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388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20022-7A92-E325-C882-ACB50D81F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uppen- und Teams Kanal-E-Mail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F669EB2-7CB8-9F8F-C5A1-8AD89861164E}"/>
              </a:ext>
            </a:extLst>
          </p:cNvPr>
          <p:cNvSpPr/>
          <p:nvPr/>
        </p:nvSpPr>
        <p:spPr>
          <a:xfrm>
            <a:off x="995685" y="1863837"/>
            <a:ext cx="4257276" cy="392279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sz="1400" b="1" dirty="0"/>
              <a:t>Gruppen-E-Mails</a:t>
            </a:r>
            <a:endParaRPr lang="de-DE" b="1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B882970-EB94-0B94-C716-59E0B5F946F8}"/>
              </a:ext>
            </a:extLst>
          </p:cNvPr>
          <p:cNvSpPr/>
          <p:nvPr/>
        </p:nvSpPr>
        <p:spPr>
          <a:xfrm>
            <a:off x="6887705" y="1863837"/>
            <a:ext cx="4424596" cy="392279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sz="1400" b="1" dirty="0"/>
              <a:t>Teams Kanal-E-Mail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B3B7F78-F20F-9199-5C15-3F8DC6EF22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37727" y="2788198"/>
            <a:ext cx="1084138" cy="720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CA30414-9742-51CA-A5F9-2308E9DD2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4707" y="2793860"/>
            <a:ext cx="1084138" cy="720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DE3C093-236D-5AC2-EB16-F02FC925FC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3167" y="2999504"/>
            <a:ext cx="461899" cy="37290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6DAE54D-DF67-9F29-9BCA-6F6BB25ECF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4601" y="2966806"/>
            <a:ext cx="461899" cy="37290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140A59C-9CAD-2E55-E5C8-D023959941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89572" y="4692809"/>
            <a:ext cx="614407" cy="588373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6528651F-47B4-5EA0-0248-5B214831A4F8}"/>
              </a:ext>
            </a:extLst>
          </p:cNvPr>
          <p:cNvSpPr txBox="1"/>
          <p:nvPr/>
        </p:nvSpPr>
        <p:spPr>
          <a:xfrm>
            <a:off x="995683" y="2233414"/>
            <a:ext cx="39736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1" i="1" dirty="0"/>
              <a:t>gruppe@group.varunagroup.de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0B29660E-F21D-7992-4F21-C7E4F9C1E710}"/>
              </a:ext>
            </a:extLst>
          </p:cNvPr>
          <p:cNvCxnSpPr>
            <a:cxnSpLocks/>
          </p:cNvCxnSpPr>
          <p:nvPr/>
        </p:nvCxnSpPr>
        <p:spPr>
          <a:xfrm flipV="1">
            <a:off x="1864126" y="3275386"/>
            <a:ext cx="990581" cy="376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697598DB-169E-6B82-4E89-B1F8E31FF5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13760" y="3148230"/>
            <a:ext cx="297780" cy="264160"/>
          </a:xfrm>
          <a:prstGeom prst="rect">
            <a:avLst/>
          </a:prstGeom>
        </p:spPr>
      </p:pic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A99257CC-072D-5F4E-EE61-C1FA2B1DD875}"/>
              </a:ext>
            </a:extLst>
          </p:cNvPr>
          <p:cNvCxnSpPr>
            <a:cxnSpLocks/>
            <a:stCxn id="7" idx="2"/>
            <a:endCxn id="15" idx="0"/>
          </p:cNvCxnSpPr>
          <p:nvPr/>
        </p:nvCxnSpPr>
        <p:spPr>
          <a:xfrm>
            <a:off x="3396776" y="3513860"/>
            <a:ext cx="0" cy="37338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F735552A-5783-24C0-DD6A-FFA22264EFE0}"/>
              </a:ext>
            </a:extLst>
          </p:cNvPr>
          <p:cNvSpPr/>
          <p:nvPr/>
        </p:nvSpPr>
        <p:spPr>
          <a:xfrm>
            <a:off x="2742980" y="3887249"/>
            <a:ext cx="1307592" cy="549584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 b="1" dirty="0"/>
              <a:t>Exchange Online Mailbox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2D0077C2-1673-DC41-1174-EA9E3A5EBC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22788" y="3688156"/>
            <a:ext cx="463550" cy="4445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DAB1CF3C-3C05-E20A-ED83-955BB0D12F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5000" y="5286677"/>
            <a:ext cx="463550" cy="4445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D102802B-5252-E790-319B-41E42759D1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01449" y="5280835"/>
            <a:ext cx="463550" cy="4445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44C75EB5-D68A-189E-F6E6-9EDCBC4A89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28550" y="5292172"/>
            <a:ext cx="463550" cy="444500"/>
          </a:xfrm>
          <a:prstGeom prst="rect">
            <a:avLst/>
          </a:prstGeom>
        </p:spPr>
      </p:pic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5B12B04-B75F-BADF-8574-6EBD34547B99}"/>
              </a:ext>
            </a:extLst>
          </p:cNvPr>
          <p:cNvCxnSpPr>
            <a:cxnSpLocks/>
            <a:stCxn id="15" idx="2"/>
            <a:endCxn id="10" idx="0"/>
          </p:cNvCxnSpPr>
          <p:nvPr/>
        </p:nvCxnSpPr>
        <p:spPr>
          <a:xfrm>
            <a:off x="3396776" y="4436833"/>
            <a:ext cx="0" cy="25597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7819FFD7-249C-57FB-5282-FF8A8FE1D233}"/>
              </a:ext>
            </a:extLst>
          </p:cNvPr>
          <p:cNvSpPr txBox="1"/>
          <p:nvPr/>
        </p:nvSpPr>
        <p:spPr>
          <a:xfrm>
            <a:off x="3699370" y="4866045"/>
            <a:ext cx="16049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Gruppenmitglieder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DDD667E-BAEB-BB97-0985-588622C2EBDF}"/>
              </a:ext>
            </a:extLst>
          </p:cNvPr>
          <p:cNvSpPr txBox="1"/>
          <p:nvPr/>
        </p:nvSpPr>
        <p:spPr>
          <a:xfrm>
            <a:off x="6904160" y="2224696"/>
            <a:ext cx="25619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i="1" dirty="0"/>
              <a:t>KANALID.varunagroup.de@de.teams.m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70BDF13-4FB5-C139-6FD6-17952D5A8534}"/>
              </a:ext>
            </a:extLst>
          </p:cNvPr>
          <p:cNvSpPr/>
          <p:nvPr/>
        </p:nvSpPr>
        <p:spPr>
          <a:xfrm>
            <a:off x="8541263" y="3449305"/>
            <a:ext cx="1442856" cy="67665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 b="1" dirty="0"/>
              <a:t>Substrate</a:t>
            </a:r>
          </a:p>
          <a:p>
            <a:pPr algn="ctr"/>
            <a:r>
              <a:rPr lang="de-DE" sz="1050" b="1" dirty="0"/>
              <a:t>Teams Backend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AEA7F600-1A07-7428-94FC-E2272392114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7162" y="3023127"/>
            <a:ext cx="914400" cy="9144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7DF07EF-4D1E-5BB0-956D-06AA8959C7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3800" y="4476426"/>
            <a:ext cx="914400" cy="914400"/>
          </a:xfrm>
          <a:prstGeom prst="rect">
            <a:avLst/>
          </a:prstGeom>
        </p:spPr>
      </p:pic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05785EB-2500-FAA2-3626-2B907410A5AF}"/>
              </a:ext>
            </a:extLst>
          </p:cNvPr>
          <p:cNvCxnSpPr>
            <a:cxnSpLocks/>
            <a:stCxn id="9" idx="3"/>
            <a:endCxn id="6" idx="1"/>
          </p:cNvCxnSpPr>
          <p:nvPr/>
        </p:nvCxnSpPr>
        <p:spPr>
          <a:xfrm flipV="1">
            <a:off x="7826500" y="3148198"/>
            <a:ext cx="911227" cy="506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9">
            <a:extLst>
              <a:ext uri="{FF2B5EF4-FFF2-40B4-BE49-F238E27FC236}">
                <a16:creationId xmlns:a16="http://schemas.microsoft.com/office/drawing/2014/main" id="{AE1769A3-C849-1088-D5CD-E12895CA0C57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8177244" y="4008004"/>
            <a:ext cx="741289" cy="546090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39">
            <a:extLst>
              <a:ext uri="{FF2B5EF4-FFF2-40B4-BE49-F238E27FC236}">
                <a16:creationId xmlns:a16="http://schemas.microsoft.com/office/drawing/2014/main" id="{5DD704FA-9EC9-0D0C-44AA-BDA80C793987}"/>
              </a:ext>
            </a:extLst>
          </p:cNvPr>
          <p:cNvCxnSpPr>
            <a:cxnSpLocks/>
          </p:cNvCxnSpPr>
          <p:nvPr/>
        </p:nvCxnSpPr>
        <p:spPr>
          <a:xfrm rot="10800000" flipV="1">
            <a:off x="7271001" y="3917232"/>
            <a:ext cx="1270262" cy="752017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CB9ED1A0-ABBF-3EC9-5E53-7B860171BB81}"/>
              </a:ext>
            </a:extLst>
          </p:cNvPr>
          <p:cNvSpPr/>
          <p:nvPr/>
        </p:nvSpPr>
        <p:spPr>
          <a:xfrm>
            <a:off x="1077043" y="2729339"/>
            <a:ext cx="1499353" cy="1058293"/>
          </a:xfrm>
          <a:prstGeom prst="rect">
            <a:avLst/>
          </a:prstGeom>
          <a:noFill/>
          <a:ln w="63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pPr algn="ctr"/>
            <a:r>
              <a:rPr lang="de-DE" sz="1050" b="1" dirty="0"/>
              <a:t>Lokale Exchange </a:t>
            </a:r>
            <a:r>
              <a:rPr lang="de-DE" sz="1050" b="1" dirty="0" err="1"/>
              <a:t>Org</a:t>
            </a:r>
            <a:endParaRPr lang="de-DE" sz="1050" b="1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AC956EF8-CDFC-F308-60B6-D56F9F3B8DE3}"/>
              </a:ext>
            </a:extLst>
          </p:cNvPr>
          <p:cNvSpPr txBox="1"/>
          <p:nvPr/>
        </p:nvSpPr>
        <p:spPr>
          <a:xfrm>
            <a:off x="8820933" y="4297751"/>
            <a:ext cx="2358914" cy="70788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800" dirty="0"/>
              <a:t>Neue Konversation im adressierten Kanal</a:t>
            </a:r>
            <a:br>
              <a:rPr lang="de-DE" sz="800" dirty="0"/>
            </a:br>
            <a:br>
              <a:rPr lang="de-DE" sz="800" dirty="0"/>
            </a:br>
            <a:r>
              <a:rPr lang="de-DE" sz="800" dirty="0"/>
              <a:t>E-Mail-Betreff = Konversationsbetreff</a:t>
            </a:r>
          </a:p>
          <a:p>
            <a:r>
              <a:rPr lang="de-DE" sz="800" dirty="0"/>
              <a:t>E-Mail-Body = Konversationsnachricht</a:t>
            </a:r>
            <a:br>
              <a:rPr lang="de-DE" sz="800" dirty="0"/>
            </a:br>
            <a:r>
              <a:rPr lang="de-DE" sz="800" dirty="0"/>
              <a:t>E-Mail-Anhänge = verlinkte Dateien in SPO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9AE8F999-73EB-5235-B82C-EB21B38FA2E6}"/>
              </a:ext>
            </a:extLst>
          </p:cNvPr>
          <p:cNvSpPr txBox="1"/>
          <p:nvPr/>
        </p:nvSpPr>
        <p:spPr>
          <a:xfrm>
            <a:off x="7102656" y="5277544"/>
            <a:ext cx="2068392" cy="46166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800" dirty="0"/>
              <a:t>Original-E-Mail als EML-Datei</a:t>
            </a:r>
          </a:p>
          <a:p>
            <a:r>
              <a:rPr lang="de-DE" sz="800" dirty="0"/>
              <a:t>Dateianhänge als einzelne Dateien</a:t>
            </a:r>
            <a:br>
              <a:rPr lang="de-DE" sz="800" dirty="0"/>
            </a:br>
            <a:r>
              <a:rPr lang="de-DE" sz="800" dirty="0"/>
              <a:t>Ein Ordner je Monat und Jahr</a:t>
            </a:r>
            <a:endParaRPr lang="de-DE" sz="700" dirty="0"/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A9C2C203-CE69-A0D2-54F6-0302E1DC0C1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09702" y="2934447"/>
            <a:ext cx="347100" cy="328693"/>
          </a:xfrm>
          <a:prstGeom prst="rect">
            <a:avLst/>
          </a:prstGeom>
        </p:spPr>
      </p:pic>
      <p:sp>
        <p:nvSpPr>
          <p:cNvPr id="33" name="Textfeld 32">
            <a:extLst>
              <a:ext uri="{FF2B5EF4-FFF2-40B4-BE49-F238E27FC236}">
                <a16:creationId xmlns:a16="http://schemas.microsoft.com/office/drawing/2014/main" id="{5A3969D1-9171-A762-4C32-0646150B9185}"/>
              </a:ext>
            </a:extLst>
          </p:cNvPr>
          <p:cNvSpPr txBox="1"/>
          <p:nvPr/>
        </p:nvSpPr>
        <p:spPr>
          <a:xfrm>
            <a:off x="1843005" y="2702389"/>
            <a:ext cx="761747" cy="2779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600" dirty="0"/>
              <a:t>M365 Gruppe</a:t>
            </a:r>
            <a:br>
              <a:rPr lang="de-DE" sz="600" dirty="0"/>
            </a:br>
            <a:r>
              <a:rPr lang="de-DE" sz="600" dirty="0"/>
              <a:t>(AAD Connect)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B679AA2-A1D0-1C61-E677-9A07FE9A3B4E}"/>
              </a:ext>
            </a:extLst>
          </p:cNvPr>
          <p:cNvSpPr/>
          <p:nvPr/>
        </p:nvSpPr>
        <p:spPr>
          <a:xfrm>
            <a:off x="7003980" y="2729333"/>
            <a:ext cx="1499353" cy="1058293"/>
          </a:xfrm>
          <a:prstGeom prst="rect">
            <a:avLst/>
          </a:prstGeom>
          <a:noFill/>
          <a:ln w="63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pPr algn="ctr"/>
            <a:r>
              <a:rPr lang="de-DE" sz="1050" b="1" dirty="0"/>
              <a:t>Lokale Exchange </a:t>
            </a:r>
            <a:r>
              <a:rPr lang="de-DE" sz="1050" b="1" dirty="0" err="1"/>
              <a:t>Org</a:t>
            </a:r>
            <a:endParaRPr lang="de-DE" sz="1050" b="1" dirty="0"/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869387CE-E576-A2D0-99FE-FAB3AAD68B45}"/>
              </a:ext>
            </a:extLst>
          </p:cNvPr>
          <p:cNvSpPr txBox="1"/>
          <p:nvPr/>
        </p:nvSpPr>
        <p:spPr>
          <a:xfrm>
            <a:off x="4193817" y="3830227"/>
            <a:ext cx="16049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Posteingang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E90C8DEE-BD2B-7517-05DA-CDC4809295E3}"/>
              </a:ext>
            </a:extLst>
          </p:cNvPr>
          <p:cNvSpPr txBox="1"/>
          <p:nvPr/>
        </p:nvSpPr>
        <p:spPr>
          <a:xfrm>
            <a:off x="3997279" y="5477599"/>
            <a:ext cx="16049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Posteingang</a:t>
            </a:r>
          </a:p>
        </p:txBody>
      </p:sp>
    </p:spTree>
    <p:extLst>
      <p:ext uri="{BB962C8B-B14F-4D97-AF65-F5344CB8AC3E}">
        <p14:creationId xmlns:p14="http://schemas.microsoft.com/office/powerpoint/2010/main" val="3510144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2" grpId="0"/>
      <p:bldP spid="23" grpId="0" animBg="1"/>
      <p:bldP spid="30" grpId="0" animBg="1"/>
      <p:bldP spid="31" grpId="0" animBg="1"/>
      <p:bldP spid="34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0D20D3-47DB-734D-C4C6-94C08F464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uppen-E-Mails von Extern (Option)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1742F5F-752E-305E-22E9-2216A84C9F86}"/>
              </a:ext>
            </a:extLst>
          </p:cNvPr>
          <p:cNvSpPr/>
          <p:nvPr/>
        </p:nvSpPr>
        <p:spPr>
          <a:xfrm>
            <a:off x="1768179" y="1631067"/>
            <a:ext cx="8446092" cy="392279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sz="1400" b="1" dirty="0"/>
              <a:t>Gruppen-E-Mails</a:t>
            </a:r>
            <a:endParaRPr lang="de-DE" b="1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946C941-2C99-62D7-ABD1-D8BC1EA4EB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7287" y="2561090"/>
            <a:ext cx="1084138" cy="720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A5FDE6D1-8C15-DBF7-FB27-1E1FAB0A10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2152" y="4460039"/>
            <a:ext cx="614407" cy="588373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8D70B735-0E6F-4FEE-F006-DAAFA2431620}"/>
              </a:ext>
            </a:extLst>
          </p:cNvPr>
          <p:cNvSpPr txBox="1"/>
          <p:nvPr/>
        </p:nvSpPr>
        <p:spPr>
          <a:xfrm>
            <a:off x="6568874" y="2190397"/>
            <a:ext cx="224427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1" i="1" dirty="0"/>
              <a:t>gruppe@groups.varunagroup.de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4D163812-B91F-6CFF-2D76-21138A8BA964}"/>
              </a:ext>
            </a:extLst>
          </p:cNvPr>
          <p:cNvCxnSpPr>
            <a:cxnSpLocks/>
            <a:endCxn id="7" idx="1"/>
          </p:cNvCxnSpPr>
          <p:nvPr/>
        </p:nvCxnSpPr>
        <p:spPr>
          <a:xfrm flipV="1">
            <a:off x="7160368" y="2921090"/>
            <a:ext cx="456919" cy="523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id="{C4EE9076-4183-757E-1638-21CC41F3AD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76340" y="2915460"/>
            <a:ext cx="297780" cy="264160"/>
          </a:xfrm>
          <a:prstGeom prst="rect">
            <a:avLst/>
          </a:prstGeom>
        </p:spPr>
      </p:pic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875A92CB-A136-32D8-65E7-0B92A2AF5F45}"/>
              </a:ext>
            </a:extLst>
          </p:cNvPr>
          <p:cNvCxnSpPr>
            <a:cxnSpLocks/>
            <a:stCxn id="7" idx="2"/>
            <a:endCxn id="13" idx="0"/>
          </p:cNvCxnSpPr>
          <p:nvPr/>
        </p:nvCxnSpPr>
        <p:spPr>
          <a:xfrm>
            <a:off x="8159356" y="3281090"/>
            <a:ext cx="0" cy="37338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BBCC8FC1-2777-67EF-9DBA-1DF26531FB95}"/>
              </a:ext>
            </a:extLst>
          </p:cNvPr>
          <p:cNvSpPr/>
          <p:nvPr/>
        </p:nvSpPr>
        <p:spPr>
          <a:xfrm>
            <a:off x="7505560" y="3654479"/>
            <a:ext cx="1307592" cy="549584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 b="1" dirty="0"/>
              <a:t>Exchange Online Mailbox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1AD2F2F-0280-34FA-4F8B-4D4B26B9F1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85368" y="3455386"/>
            <a:ext cx="463550" cy="4445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99F6826-E540-D5C9-F24E-55BE55D523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27580" y="5053907"/>
            <a:ext cx="463550" cy="4445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C74D9C38-15B0-485B-FB90-034CC2DDAD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64029" y="5048065"/>
            <a:ext cx="463550" cy="4445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BA691B8-4D4E-8E70-2C69-8E15AB304A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91130" y="5059402"/>
            <a:ext cx="463550" cy="444500"/>
          </a:xfrm>
          <a:prstGeom prst="rect">
            <a:avLst/>
          </a:prstGeom>
        </p:spPr>
      </p:pic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2CD33ACD-7299-7C2F-CE16-10112031893A}"/>
              </a:ext>
            </a:extLst>
          </p:cNvPr>
          <p:cNvCxnSpPr>
            <a:cxnSpLocks/>
            <a:stCxn id="13" idx="2"/>
            <a:endCxn id="8" idx="0"/>
          </p:cNvCxnSpPr>
          <p:nvPr/>
        </p:nvCxnSpPr>
        <p:spPr>
          <a:xfrm>
            <a:off x="8159356" y="4204063"/>
            <a:ext cx="0" cy="25597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C06814BA-EFB7-3248-8656-BC4DF21F8BE7}"/>
              </a:ext>
            </a:extLst>
          </p:cNvPr>
          <p:cNvSpPr txBox="1"/>
          <p:nvPr/>
        </p:nvSpPr>
        <p:spPr>
          <a:xfrm>
            <a:off x="8461950" y="4633275"/>
            <a:ext cx="16049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Gruppenmitglieder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56BA8C71-5A86-7ED4-6142-EF7AA37F7E8E}"/>
              </a:ext>
            </a:extLst>
          </p:cNvPr>
          <p:cNvSpPr/>
          <p:nvPr/>
        </p:nvSpPr>
        <p:spPr>
          <a:xfrm>
            <a:off x="5839623" y="2496569"/>
            <a:ext cx="1499353" cy="1058293"/>
          </a:xfrm>
          <a:prstGeom prst="rect">
            <a:avLst/>
          </a:prstGeom>
          <a:noFill/>
          <a:ln w="63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pPr algn="ctr"/>
            <a:r>
              <a:rPr lang="de-DE" sz="1050" b="1" dirty="0"/>
              <a:t>Lokale Exchange </a:t>
            </a:r>
            <a:r>
              <a:rPr lang="de-DE" sz="1050" b="1" dirty="0" err="1"/>
              <a:t>Org</a:t>
            </a:r>
            <a:endParaRPr lang="de-DE" sz="1050" b="1" dirty="0"/>
          </a:p>
        </p:txBody>
      </p:sp>
      <p:pic>
        <p:nvPicPr>
          <p:cNvPr id="21" name="Grafik 20" descr="Cloud Silhouette">
            <a:extLst>
              <a:ext uri="{FF2B5EF4-FFF2-40B4-BE49-F238E27FC236}">
                <a16:creationId xmlns:a16="http://schemas.microsoft.com/office/drawing/2014/main" id="{28578A41-8F39-6043-351C-0BA2B19540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07128" y="2457882"/>
            <a:ext cx="914400" cy="914400"/>
          </a:xfrm>
          <a:prstGeom prst="rect">
            <a:avLst/>
          </a:prstGeom>
        </p:spPr>
      </p:pic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EB7C0F5E-9FCE-8ADD-3D9A-A650DA1905FC}"/>
              </a:ext>
            </a:extLst>
          </p:cNvPr>
          <p:cNvCxnSpPr>
            <a:cxnSpLocks/>
            <a:endCxn id="25" idx="1"/>
          </p:cNvCxnSpPr>
          <p:nvPr/>
        </p:nvCxnSpPr>
        <p:spPr>
          <a:xfrm>
            <a:off x="3455906" y="2921089"/>
            <a:ext cx="2507638" cy="739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E602E83B-968B-2AE9-1752-81ECA68354F5}"/>
              </a:ext>
            </a:extLst>
          </p:cNvPr>
          <p:cNvSpPr txBox="1"/>
          <p:nvPr/>
        </p:nvSpPr>
        <p:spPr>
          <a:xfrm>
            <a:off x="4160478" y="2677860"/>
            <a:ext cx="16749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1" i="1" dirty="0"/>
              <a:t>gruppe@varunagroup.de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2B1BAA54-FAF7-46C9-0D1C-4A6D963F98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32647" y="2719554"/>
            <a:ext cx="461899" cy="372909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2E9FBDDA-F801-71D6-1218-065272ED301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63544" y="2749070"/>
            <a:ext cx="475735" cy="358817"/>
          </a:xfrm>
          <a:prstGeom prst="rect">
            <a:avLst/>
          </a:prstGeom>
        </p:spPr>
      </p:pic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AC83875-6C02-A7D2-9B22-F5FF31D58B6E}"/>
              </a:ext>
            </a:extLst>
          </p:cNvPr>
          <p:cNvCxnSpPr>
            <a:cxnSpLocks/>
            <a:stCxn id="25" idx="3"/>
          </p:cNvCxnSpPr>
          <p:nvPr/>
        </p:nvCxnSpPr>
        <p:spPr>
          <a:xfrm flipV="1">
            <a:off x="6439279" y="2926323"/>
            <a:ext cx="259190" cy="215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A7A0E8CC-7EFB-65C8-E33D-8F9BA88721DD}"/>
              </a:ext>
            </a:extLst>
          </p:cNvPr>
          <p:cNvSpPr txBox="1">
            <a:spLocks/>
          </p:cNvSpPr>
          <p:nvPr/>
        </p:nvSpPr>
        <p:spPr>
          <a:xfrm>
            <a:off x="1949242" y="4525903"/>
            <a:ext cx="4455052" cy="82252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/>
              <a:t>Externe E-Mail durchläuft die Varuna Group E-Mail-Sicherheitskomponenten vor einer Zustellung and die Gruppe</a:t>
            </a:r>
          </a:p>
          <a:p>
            <a:r>
              <a:rPr lang="de-DE" sz="1000" dirty="0"/>
              <a:t>Azure AD Connect Anpassung für anonyme Absender erforderlich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6A019980-6F30-B6DC-8B06-A1A2D4766129}"/>
              </a:ext>
            </a:extLst>
          </p:cNvPr>
          <p:cNvSpPr txBox="1"/>
          <p:nvPr/>
        </p:nvSpPr>
        <p:spPr>
          <a:xfrm>
            <a:off x="5959197" y="2632498"/>
            <a:ext cx="484428" cy="1810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05000"/>
              </a:lnSpc>
              <a:buClr>
                <a:schemeClr val="accent1"/>
              </a:buClr>
            </a:pPr>
            <a:r>
              <a:rPr lang="de-DE" sz="600" dirty="0"/>
              <a:t>Kontakt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13B71BFD-23A1-8E1B-F310-D0A413D83D9A}"/>
              </a:ext>
            </a:extLst>
          </p:cNvPr>
          <p:cNvSpPr txBox="1"/>
          <p:nvPr/>
        </p:nvSpPr>
        <p:spPr>
          <a:xfrm>
            <a:off x="6563199" y="2514722"/>
            <a:ext cx="761747" cy="2779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r>
              <a:rPr lang="de-DE" sz="600" dirty="0"/>
              <a:t>M365 Gruppe</a:t>
            </a:r>
            <a:br>
              <a:rPr lang="de-DE" sz="600" dirty="0"/>
            </a:br>
            <a:r>
              <a:rPr lang="de-DE" sz="600" dirty="0"/>
              <a:t>(AAD Connect)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FB4E7F61-C0E1-31A5-FF70-6B141BC7D1B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54849" y="2763770"/>
            <a:ext cx="347100" cy="328693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2DDBD975-64BA-654B-E6E6-95FA80B76568}"/>
              </a:ext>
            </a:extLst>
          </p:cNvPr>
          <p:cNvSpPr txBox="1"/>
          <p:nvPr/>
        </p:nvSpPr>
        <p:spPr>
          <a:xfrm>
            <a:off x="8932504" y="3584235"/>
            <a:ext cx="16049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Posteingang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2F566007-F318-24E3-0E37-B2F3C7223545}"/>
              </a:ext>
            </a:extLst>
          </p:cNvPr>
          <p:cNvSpPr txBox="1"/>
          <p:nvPr/>
        </p:nvSpPr>
        <p:spPr>
          <a:xfrm>
            <a:off x="8770924" y="5139510"/>
            <a:ext cx="16049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Posteingang</a:t>
            </a:r>
          </a:p>
        </p:txBody>
      </p:sp>
    </p:spTree>
    <p:extLst>
      <p:ext uri="{BB962C8B-B14F-4D97-AF65-F5344CB8AC3E}">
        <p14:creationId xmlns:p14="http://schemas.microsoft.com/office/powerpoint/2010/main" val="27033769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484126-C62B-0BAD-8455-19F0DAB1F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anal-E-Mails von Extern (Option)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68CE957-C20A-3639-09E7-A21A87B1D6F8}"/>
              </a:ext>
            </a:extLst>
          </p:cNvPr>
          <p:cNvSpPr/>
          <p:nvPr/>
        </p:nvSpPr>
        <p:spPr>
          <a:xfrm>
            <a:off x="1768179" y="1631067"/>
            <a:ext cx="8446092" cy="392279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sz="1400" b="1" dirty="0"/>
              <a:t>Gruppen-E-Mails</a:t>
            </a:r>
            <a:endParaRPr lang="de-DE" b="1" dirty="0"/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F9291E90-00AA-06EF-B139-D225B8E4817D}"/>
              </a:ext>
            </a:extLst>
          </p:cNvPr>
          <p:cNvCxnSpPr>
            <a:cxnSpLocks/>
            <a:stCxn id="10" idx="3"/>
            <a:endCxn id="11" idx="1"/>
          </p:cNvCxnSpPr>
          <p:nvPr/>
        </p:nvCxnSpPr>
        <p:spPr>
          <a:xfrm flipV="1">
            <a:off x="6841701" y="2915428"/>
            <a:ext cx="1074204" cy="880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 5">
            <a:extLst>
              <a:ext uri="{FF2B5EF4-FFF2-40B4-BE49-F238E27FC236}">
                <a16:creationId xmlns:a16="http://schemas.microsoft.com/office/drawing/2014/main" id="{AF68A86D-234C-04AD-47B8-1BB0E30BC367}"/>
              </a:ext>
            </a:extLst>
          </p:cNvPr>
          <p:cNvSpPr/>
          <p:nvPr/>
        </p:nvSpPr>
        <p:spPr>
          <a:xfrm>
            <a:off x="5839623" y="2496569"/>
            <a:ext cx="1499353" cy="1058293"/>
          </a:xfrm>
          <a:prstGeom prst="rect">
            <a:avLst/>
          </a:prstGeom>
          <a:noFill/>
          <a:ln w="63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pPr algn="ctr"/>
            <a:r>
              <a:rPr lang="de-DE" sz="1050" b="1" dirty="0"/>
              <a:t>Lokale Exchange </a:t>
            </a:r>
            <a:r>
              <a:rPr lang="de-DE" sz="1050" b="1" dirty="0" err="1"/>
              <a:t>Org</a:t>
            </a:r>
            <a:endParaRPr lang="de-DE" sz="1050" b="1" dirty="0"/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972D4280-EE9D-3BEB-6FB0-49B1A026419F}"/>
              </a:ext>
            </a:extLst>
          </p:cNvPr>
          <p:cNvCxnSpPr>
            <a:cxnSpLocks/>
            <a:stCxn id="22" idx="3"/>
            <a:endCxn id="10" idx="1"/>
          </p:cNvCxnSpPr>
          <p:nvPr/>
        </p:nvCxnSpPr>
        <p:spPr>
          <a:xfrm>
            <a:off x="3421528" y="2915082"/>
            <a:ext cx="2944438" cy="915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>
            <a:extLst>
              <a:ext uri="{FF2B5EF4-FFF2-40B4-BE49-F238E27FC236}">
                <a16:creationId xmlns:a16="http://schemas.microsoft.com/office/drawing/2014/main" id="{008875B2-4EA9-3043-3A72-D91905461EF3}"/>
              </a:ext>
            </a:extLst>
          </p:cNvPr>
          <p:cNvSpPr txBox="1"/>
          <p:nvPr/>
        </p:nvSpPr>
        <p:spPr>
          <a:xfrm>
            <a:off x="4184308" y="2669799"/>
            <a:ext cx="19116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1" i="1" dirty="0"/>
              <a:t>kanalname@varunagroup.d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B15DE6C-48E0-EFD6-5295-E82187F85E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3537" y="2739868"/>
            <a:ext cx="461899" cy="37290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826C2858-1879-6E29-BF28-AE46A5039C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5966" y="2744828"/>
            <a:ext cx="475735" cy="35881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9299189-CD7F-8E17-56FF-5EE448B807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15905" y="2555428"/>
            <a:ext cx="1084138" cy="720000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3D8B25A8-5EC5-6AD0-5B2C-951504C271FC}"/>
              </a:ext>
            </a:extLst>
          </p:cNvPr>
          <p:cNvSpPr/>
          <p:nvPr/>
        </p:nvSpPr>
        <p:spPr>
          <a:xfrm>
            <a:off x="7760949" y="3262967"/>
            <a:ext cx="1442856" cy="67665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 b="1" dirty="0"/>
              <a:t>Substrate</a:t>
            </a:r>
          </a:p>
          <a:p>
            <a:pPr algn="ctr"/>
            <a:r>
              <a:rPr lang="de-DE" sz="1050" b="1" dirty="0"/>
              <a:t>Teams Backend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D849D717-FEB6-3153-5F51-E435B94CAB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0567" y="2789238"/>
            <a:ext cx="914400" cy="91440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4D1CB8AC-4879-79E1-DEC1-4E04A9097133}"/>
              </a:ext>
            </a:extLst>
          </p:cNvPr>
          <p:cNvSpPr txBox="1"/>
          <p:nvPr/>
        </p:nvSpPr>
        <p:spPr>
          <a:xfrm>
            <a:off x="6694477" y="2190984"/>
            <a:ext cx="25619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i="1" dirty="0"/>
              <a:t>KANALID.varunagroup.de@</a:t>
            </a:r>
            <a:r>
              <a:rPr lang="de-DE" sz="1100" b="1" i="1" dirty="0">
                <a:highlight>
                  <a:srgbClr val="FFFF00"/>
                </a:highlight>
              </a:rPr>
              <a:t>de</a:t>
            </a:r>
            <a:r>
              <a:rPr lang="de-DE" sz="1100" b="1" i="1" dirty="0"/>
              <a:t>.teams.ms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85AE0B4-4EFE-F50A-AEED-9AD7A41FC4EA}"/>
              </a:ext>
            </a:extLst>
          </p:cNvPr>
          <p:cNvSpPr txBox="1">
            <a:spLocks/>
          </p:cNvSpPr>
          <p:nvPr/>
        </p:nvSpPr>
        <p:spPr>
          <a:xfrm>
            <a:off x="1949242" y="4551039"/>
            <a:ext cx="3890381" cy="79738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/>
              <a:t>Externe E-Mail durchläuft die Varuna Group E-Mail-Sicherheitskomponenten vor einer Zustellung and die Gruppe</a:t>
            </a:r>
          </a:p>
          <a:p>
            <a:r>
              <a:rPr lang="de-DE" sz="1000" dirty="0"/>
              <a:t>Unterstützung von Kanal-E-Mails muss aktiviert sei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1A7B5AC-2CC2-2BE2-457B-67DE6F9805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288" y="4260771"/>
            <a:ext cx="914400" cy="914400"/>
          </a:xfrm>
          <a:prstGeom prst="rect">
            <a:avLst/>
          </a:prstGeom>
        </p:spPr>
      </p:pic>
      <p:cxnSp>
        <p:nvCxnSpPr>
          <p:cNvPr id="17" name="Gerade Verbindung mit Pfeil 29">
            <a:extLst>
              <a:ext uri="{FF2B5EF4-FFF2-40B4-BE49-F238E27FC236}">
                <a16:creationId xmlns:a16="http://schemas.microsoft.com/office/drawing/2014/main" id="{95E61385-11C6-D231-E7BF-58EEC50C1B00}"/>
              </a:ext>
            </a:extLst>
          </p:cNvPr>
          <p:cNvCxnSpPr>
            <a:cxnSpLocks/>
            <a:endCxn id="19" idx="1"/>
          </p:cNvCxnSpPr>
          <p:nvPr/>
        </p:nvCxnSpPr>
        <p:spPr>
          <a:xfrm rot="16200000" flipH="1">
            <a:off x="7006332" y="3731158"/>
            <a:ext cx="840984" cy="691374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39">
            <a:extLst>
              <a:ext uri="{FF2B5EF4-FFF2-40B4-BE49-F238E27FC236}">
                <a16:creationId xmlns:a16="http://schemas.microsoft.com/office/drawing/2014/main" id="{1385E116-E36D-F248-F306-141A9102E8C7}"/>
              </a:ext>
            </a:extLst>
          </p:cNvPr>
          <p:cNvCxnSpPr>
            <a:cxnSpLocks/>
          </p:cNvCxnSpPr>
          <p:nvPr/>
        </p:nvCxnSpPr>
        <p:spPr>
          <a:xfrm rot="10800000" flipV="1">
            <a:off x="6486488" y="3645553"/>
            <a:ext cx="1270262" cy="752017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BE3DD4DB-401C-6C27-5319-C98908938E60}"/>
              </a:ext>
            </a:extLst>
          </p:cNvPr>
          <p:cNvSpPr txBox="1"/>
          <p:nvPr/>
        </p:nvSpPr>
        <p:spPr>
          <a:xfrm>
            <a:off x="7772511" y="4166477"/>
            <a:ext cx="2358914" cy="6617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800" dirty="0"/>
              <a:t>Neue Konversation im adressierten Kanal</a:t>
            </a:r>
            <a:br>
              <a:rPr lang="de-DE" sz="800" dirty="0"/>
            </a:br>
            <a:br>
              <a:rPr lang="de-DE" sz="800" dirty="0"/>
            </a:br>
            <a:r>
              <a:rPr lang="de-DE" sz="700" dirty="0"/>
              <a:t>E-Mail-Betreff = Konversationsbetreff</a:t>
            </a:r>
          </a:p>
          <a:p>
            <a:r>
              <a:rPr lang="de-DE" sz="700" dirty="0"/>
              <a:t>E-Mail-Body = Konversationsnachricht</a:t>
            </a:r>
            <a:br>
              <a:rPr lang="de-DE" sz="700" dirty="0"/>
            </a:br>
            <a:r>
              <a:rPr lang="de-DE" sz="700" dirty="0"/>
              <a:t>E-Mail-Anhänge = verlinkte Dateien in SPO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A8FB88B5-3637-FBBD-F016-3AC7E359ED2C}"/>
              </a:ext>
            </a:extLst>
          </p:cNvPr>
          <p:cNvSpPr txBox="1"/>
          <p:nvPr/>
        </p:nvSpPr>
        <p:spPr>
          <a:xfrm>
            <a:off x="6314543" y="5027465"/>
            <a:ext cx="2068392" cy="46166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800" dirty="0"/>
              <a:t>Original-E-Mail als EML-Datei</a:t>
            </a:r>
          </a:p>
          <a:p>
            <a:r>
              <a:rPr lang="de-DE" sz="800" dirty="0"/>
              <a:t>Dateianhänge als einzelne Dateien</a:t>
            </a:r>
            <a:br>
              <a:rPr lang="de-DE" sz="800" dirty="0"/>
            </a:br>
            <a:r>
              <a:rPr lang="de-DE" sz="800" dirty="0"/>
              <a:t>Ein Ordner je Monat und Jahr</a:t>
            </a:r>
            <a:endParaRPr lang="de-DE" sz="7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B90B79B9-963B-FAD2-228E-E31A44F816D0}"/>
              </a:ext>
            </a:extLst>
          </p:cNvPr>
          <p:cNvSpPr txBox="1"/>
          <p:nvPr/>
        </p:nvSpPr>
        <p:spPr>
          <a:xfrm>
            <a:off x="6234590" y="2499249"/>
            <a:ext cx="902811" cy="2779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05000"/>
              </a:lnSpc>
              <a:buClr>
                <a:schemeClr val="accent1"/>
              </a:buClr>
            </a:pPr>
            <a:r>
              <a:rPr lang="de-DE" sz="600" dirty="0"/>
              <a:t>Kontakt</a:t>
            </a:r>
            <a:br>
              <a:rPr lang="de-DE" sz="600" dirty="0"/>
            </a:br>
            <a:r>
              <a:rPr lang="de-DE" sz="600" dirty="0"/>
              <a:t>Ziel: Kanaladresse</a:t>
            </a:r>
          </a:p>
        </p:txBody>
      </p:sp>
      <p:pic>
        <p:nvPicPr>
          <p:cNvPr id="22" name="Grafik 21" descr="Cloud Silhouette">
            <a:extLst>
              <a:ext uri="{FF2B5EF4-FFF2-40B4-BE49-F238E27FC236}">
                <a16:creationId xmlns:a16="http://schemas.microsoft.com/office/drawing/2014/main" id="{5EB1DE8A-E1E1-0789-9344-3E7B9E95AA9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07128" y="245788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120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9" grpId="0" animBg="1"/>
      <p:bldP spid="20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E62622-F289-340C-1C13-FA9101670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ybride Besonderh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553ED5-E390-719E-74BD-4279315E32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zure AD Connect synchronisiert nicht alle Exchange-relevanten Attribute</a:t>
            </a:r>
            <a:br>
              <a:rPr lang="de-DE" dirty="0"/>
            </a:br>
            <a:endParaRPr lang="de-DE" dirty="0"/>
          </a:p>
          <a:p>
            <a:pPr lvl="1"/>
            <a:r>
              <a:rPr lang="de-DE" dirty="0" err="1"/>
              <a:t>msExchHideFromAddressLists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Azure AD Connect ignoriert SOA-Attribute</a:t>
            </a:r>
            <a:br>
              <a:rPr lang="de-DE" dirty="0"/>
            </a:br>
            <a:endParaRPr lang="de-DE" dirty="0"/>
          </a:p>
          <a:p>
            <a:pPr lvl="1"/>
            <a:r>
              <a:rPr lang="de-DE" dirty="0" err="1"/>
              <a:t>msExchRequireAuthToSendTo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 immer TRUE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A4301FD-13C7-A86F-BD1F-3A179BD3E1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5132" y="2816962"/>
            <a:ext cx="3613336" cy="221626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0314BFC-FA0B-7C00-2633-998834F6EA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5857" y="2319832"/>
            <a:ext cx="3026229" cy="29732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C0716F-66C6-7072-64FE-864DF80D5C4C}"/>
              </a:ext>
            </a:extLst>
          </p:cNvPr>
          <p:cNvCxnSpPr>
            <a:cxnSpLocks/>
          </p:cNvCxnSpPr>
          <p:nvPr/>
        </p:nvCxnSpPr>
        <p:spPr>
          <a:xfrm>
            <a:off x="3777343" y="4180114"/>
            <a:ext cx="2042352" cy="0"/>
          </a:xfrm>
          <a:prstGeom prst="straightConnector1">
            <a:avLst/>
          </a:prstGeom>
          <a:ln w="762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3" name="Grafik 12" descr="Marke Fragezeichen mit einfarbiger Füllung">
            <a:extLst>
              <a:ext uri="{FF2B5EF4-FFF2-40B4-BE49-F238E27FC236}">
                <a16:creationId xmlns:a16="http://schemas.microsoft.com/office/drawing/2014/main" id="{65CD63F4-D519-8DF4-8529-CA9792AA2C2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13502" y="372291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5454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A8850C-C3AD-5993-00C3-4D12B6A11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from AAD - Group </a:t>
            </a:r>
            <a:r>
              <a:rPr lang="en-US" dirty="0" err="1"/>
              <a:t>SOAInAAD</a:t>
            </a:r>
            <a:endParaRPr lang="en-US" dirty="0"/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B18E5043-2990-DBA4-4BD5-ECB74B18B4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5121438"/>
              </p:ext>
            </p:extLst>
          </p:nvPr>
        </p:nvGraphicFramePr>
        <p:xfrm>
          <a:off x="430305" y="1343819"/>
          <a:ext cx="11331389" cy="283845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715666">
                  <a:extLst>
                    <a:ext uri="{9D8B030D-6E8A-4147-A177-3AD203B41FA5}">
                      <a16:colId xmlns:a16="http://schemas.microsoft.com/office/drawing/2014/main" val="2636074174"/>
                    </a:ext>
                  </a:extLst>
                </a:gridCol>
                <a:gridCol w="2416629">
                  <a:extLst>
                    <a:ext uri="{9D8B030D-6E8A-4147-A177-3AD203B41FA5}">
                      <a16:colId xmlns:a16="http://schemas.microsoft.com/office/drawing/2014/main" val="3300015557"/>
                    </a:ext>
                  </a:extLst>
                </a:gridCol>
                <a:gridCol w="6199094">
                  <a:extLst>
                    <a:ext uri="{9D8B030D-6E8A-4147-A177-3AD203B41FA5}">
                      <a16:colId xmlns:a16="http://schemas.microsoft.com/office/drawing/2014/main" val="2868334395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ource</a:t>
                      </a:r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estination</a:t>
                      </a:r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xpression</a:t>
                      </a:r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4460629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{cloudAnchor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cloudAnchor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07841773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{}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description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IIF(</a:t>
                      </a:r>
                      <a:r>
                        <a:rPr lang="en-US" sz="12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IsNullOrEmpty</a:t>
                      </a:r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([description]),</a:t>
                      </a:r>
                      <a:r>
                        <a:rPr lang="en-US" sz="12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NULL,Left</a:t>
                      </a:r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(Trim([description]),448)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49748083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{</a:t>
                      </a:r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displayName</a:t>
                      </a:r>
                      <a:r>
                        <a:rPr lang="de-DE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}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displayName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40639440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{mail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mail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87538483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{alias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mailNickname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4634837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{managedBy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managedBy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95212732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{member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member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4018522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{msExchCoManagedByLink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msExchCoManagedByLink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248176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{msExchRecipientTypeDetails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msExchRecipientTypeDetails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5634909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{proxyAddresses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proxyAddresses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1721871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{targetAddress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targetAddress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7807694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{cloudMastered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cloudMastered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25261556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{targetWritebackType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targetWritebackType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15482626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{reasonFiltered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reasonFiltered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7750594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489711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A8850C-C3AD-5993-00C3-4D12B6A11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 to AD - Group </a:t>
            </a:r>
            <a:r>
              <a:rPr lang="en-US" dirty="0" err="1"/>
              <a:t>SOAInAAD</a:t>
            </a:r>
            <a:r>
              <a:rPr lang="en-US" dirty="0"/>
              <a:t> - Exchange</a:t>
            </a: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5E3BE2B0-1504-CADC-0FE2-F173071CEF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6969542"/>
              </p:ext>
            </p:extLst>
          </p:nvPr>
        </p:nvGraphicFramePr>
        <p:xfrm>
          <a:off x="430306" y="1343819"/>
          <a:ext cx="11108550" cy="472205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3412351">
                  <a:extLst>
                    <a:ext uri="{9D8B030D-6E8A-4147-A177-3AD203B41FA5}">
                      <a16:colId xmlns:a16="http://schemas.microsoft.com/office/drawing/2014/main" val="843182539"/>
                    </a:ext>
                  </a:extLst>
                </a:gridCol>
                <a:gridCol w="3331029">
                  <a:extLst>
                    <a:ext uri="{9D8B030D-6E8A-4147-A177-3AD203B41FA5}">
                      <a16:colId xmlns:a16="http://schemas.microsoft.com/office/drawing/2014/main" val="673622898"/>
                    </a:ext>
                  </a:extLst>
                </a:gridCol>
                <a:gridCol w="4365170">
                  <a:extLst>
                    <a:ext uri="{9D8B030D-6E8A-4147-A177-3AD203B41FA5}">
                      <a16:colId xmlns:a16="http://schemas.microsoft.com/office/drawing/2014/main" val="1735422236"/>
                    </a:ext>
                  </a:extLst>
                </a:gridCol>
              </a:tblGrid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 dirty="0">
                          <a:effectLst/>
                        </a:rPr>
                        <a:t>Source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Destination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Expression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2909731675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mail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ail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4081204308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mailNickname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ailNickname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2395946914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1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AddressBookFlags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3752922260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False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BypassAudit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1638801611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msExchCoManagedByLink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CoManagedByLink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1013784751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0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GroupDepartRestriction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123293615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0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GroupJoinRestriction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1786755506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msExchHideFromAddressLists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HideFromAddressLists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933248127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msExchLabeledURI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LabeledURI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2742675378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0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LocalizationFlags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3535912037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False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MailboxAuditEnable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1714026570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7776000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MailboxAuditLogAgeLimit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2426174611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 dirty="0">
                          <a:effectLst/>
                        </a:rPr>
                        <a:t>{6}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ModerationFlags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3338430693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{26491CFC-9E50-4857-861B-0CB8DF22B5D7}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PoliciesExcluded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3344431877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0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ProvisioningFlags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4036045141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17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RecipientDisplayType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666721189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0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RecipientSoftDeletedStatus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1855751299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msExchRecipientTypeDetails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RecipientTypeDetails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3219695810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1" u="none" strike="noStrike" dirty="0">
                          <a:effectLst/>
                          <a:highlight>
                            <a:srgbClr val="FFFF00"/>
                          </a:highlight>
                        </a:rPr>
                        <a:t>{True}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1" u="none" strike="noStrike" dirty="0" err="1">
                          <a:effectLst/>
                          <a:highlight>
                            <a:srgbClr val="FFFF00"/>
                          </a:highlight>
                        </a:rPr>
                        <a:t>msExchRequireAuthToSendTo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498992786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0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RoleGroupType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2146943812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0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TransportRecipientSettingsFlags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1972268164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msExchVersion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CNum(44220983382016)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3278937181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{proxyAddresses}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proxyAddresses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2196679252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 dirty="0">
                          <a:effectLst/>
                        </a:rPr>
                        <a:t>{</a:t>
                      </a:r>
                      <a:r>
                        <a:rPr lang="de-DE" sz="1200" u="none" strike="noStrike" dirty="0" err="1">
                          <a:effectLst/>
                        </a:rPr>
                        <a:t>targetAddress</a:t>
                      </a:r>
                      <a:r>
                        <a:rPr lang="de-DE" sz="1200" u="none" strike="noStrike" dirty="0">
                          <a:effectLst/>
                        </a:rPr>
                        <a:t>}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u="none" strike="noStrike">
                          <a:effectLst/>
                        </a:rPr>
                        <a:t>targetAddress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2" marR="6002" marT="6002" marB="0" anchor="b"/>
                </a:tc>
                <a:extLst>
                  <a:ext uri="{0D108BD9-81ED-4DB2-BD59-A6C34878D82A}">
                    <a16:rowId xmlns:a16="http://schemas.microsoft.com/office/drawing/2014/main" val="8634253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65827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1D2D1BF2-DBEA-44D1-B318-6E31D982F99B}"/>
              </a:ext>
            </a:extLst>
          </p:cNvPr>
          <p:cNvSpPr/>
          <p:nvPr/>
        </p:nvSpPr>
        <p:spPr>
          <a:xfrm>
            <a:off x="4748713" y="1446549"/>
            <a:ext cx="7101011" cy="4124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8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homas Stensitzki</a:t>
            </a:r>
          </a:p>
          <a:p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Enterprise Consultant | Geschäftsführer</a:t>
            </a:r>
            <a:b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  <a:cs typeface="Calibri"/>
              </a:rPr>
            </a:br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Granikos GmbH &amp; Co. KG</a:t>
            </a:r>
            <a:endParaRPr lang="de-DE" dirty="0">
              <a:latin typeface="Microsoft YaHei" panose="020B0503020204020204" pitchFamily="34" charset="-122"/>
              <a:ea typeface="Microsoft YaHei" panose="020B0503020204020204" pitchFamily="34" charset="-122"/>
              <a:cs typeface="Calibri"/>
            </a:endParaRPr>
          </a:p>
          <a:p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MVP | Office Apps &amp; Services</a:t>
            </a:r>
            <a:b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b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  <a:cs typeface="Calibri"/>
                <a:hlinkClick r:id="rId3" invalidUrl="http:///"/>
              </a:rPr>
            </a:br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witter: </a:t>
            </a:r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  <a:hlinkClick r:id="rId4"/>
              </a:rPr>
              <a:t>@Stensitzki</a:t>
            </a:r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 </a:t>
            </a:r>
            <a:b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LinkedIn: </a:t>
            </a:r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  <a:hlinkClick r:id="rId5"/>
              </a:rPr>
              <a:t>https://linkedin.com/in/thomasstensitzki</a:t>
            </a:r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endParaRPr lang="de-DE" dirty="0">
              <a:latin typeface="Microsoft YaHei" panose="020B0503020204020204" pitchFamily="34" charset="-122"/>
              <a:ea typeface="Microsoft YaHei" panose="020B0503020204020204" pitchFamily="34" charset="-122"/>
              <a:cs typeface="Calibri"/>
            </a:endParaRPr>
          </a:p>
          <a:p>
            <a:endParaRPr lang="de-DE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log: </a:t>
            </a:r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  <a:hlinkClick r:id="rId6"/>
              </a:rPr>
              <a:t>https://Blog.Granikos.eu</a:t>
            </a:r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 </a:t>
            </a:r>
            <a:endParaRPr lang="de-DE" dirty="0">
              <a:latin typeface="Microsoft YaHei" panose="020B0503020204020204" pitchFamily="34" charset="-122"/>
              <a:ea typeface="Microsoft YaHei" panose="020B0503020204020204" pitchFamily="34" charset="-122"/>
              <a:cs typeface="Calibri"/>
            </a:endParaRPr>
          </a:p>
          <a:p>
            <a:b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MVP Blog: </a:t>
            </a:r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  <a:hlinkClick r:id="rId7"/>
              </a:rPr>
              <a:t>https://blogs.msmvps.com/thomastechtalk</a:t>
            </a:r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b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endParaRPr lang="de-DE" dirty="0">
              <a:latin typeface="Microsoft YaHei" panose="020B0503020204020204" pitchFamily="34" charset="-122"/>
              <a:ea typeface="Microsoft YaHei" panose="020B0503020204020204" pitchFamily="34" charset="-122"/>
              <a:cs typeface="Calibri"/>
            </a:endParaRPr>
          </a:p>
          <a:p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  <a:cs typeface="Calibri"/>
              </a:rPr>
              <a:t>Tech Talk Folgen: </a:t>
            </a:r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  <a:cs typeface="Calibri"/>
                <a:hlinkClick r:id="rId8"/>
              </a:rPr>
              <a:t>http://TechTalk.Granikos.eu</a:t>
            </a:r>
            <a: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  <a:cs typeface="Calibri"/>
              </a:rPr>
              <a:t> </a:t>
            </a:r>
            <a:br>
              <a:rPr lang="de-DE" dirty="0">
                <a:latin typeface="Microsoft YaHei" panose="020B0503020204020204" pitchFamily="34" charset="-122"/>
                <a:ea typeface="Microsoft YaHei" panose="020B0503020204020204" pitchFamily="34" charset="-122"/>
                <a:cs typeface="Calibri"/>
              </a:rPr>
            </a:br>
            <a:endParaRPr lang="de-DE" dirty="0">
              <a:latin typeface="Microsoft YaHei" panose="020B0503020204020204" pitchFamily="34" charset="-122"/>
              <a:ea typeface="Microsoft YaHei" panose="020B0503020204020204" pitchFamily="34" charset="-122"/>
              <a:cs typeface="Calibri"/>
            </a:endParaRPr>
          </a:p>
        </p:txBody>
      </p:sp>
      <p:pic>
        <p:nvPicPr>
          <p:cNvPr id="5" name="Grafik 4" descr="Logo Microsoft Valuable Professional (MVP)">
            <a:extLst>
              <a:ext uri="{FF2B5EF4-FFF2-40B4-BE49-F238E27FC236}">
                <a16:creationId xmlns:a16="http://schemas.microsoft.com/office/drawing/2014/main" id="{004ACF09-AB06-4467-90D9-731D6CFF063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0671" y="523003"/>
            <a:ext cx="2289053" cy="923546"/>
          </a:xfrm>
          <a:prstGeom prst="rect">
            <a:avLst/>
          </a:prstGeom>
        </p:spPr>
      </p:pic>
      <p:pic>
        <p:nvPicPr>
          <p:cNvPr id="7" name="Grafik 6" descr="Ein Bild, das Spielzeug, Kuchen, Tasse, Kunststoff enthält.&#10;&#10;Automatisch generierte Beschreibung">
            <a:extLst>
              <a:ext uri="{FF2B5EF4-FFF2-40B4-BE49-F238E27FC236}">
                <a16:creationId xmlns:a16="http://schemas.microsoft.com/office/drawing/2014/main" id="{1067D39A-54EA-4901-944F-25A9D408CAF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1584" y="4257603"/>
            <a:ext cx="1206325" cy="2002634"/>
          </a:xfrm>
          <a:prstGeom prst="rect">
            <a:avLst/>
          </a:prstGeom>
        </p:spPr>
      </p:pic>
      <p:pic>
        <p:nvPicPr>
          <p:cNvPr id="8" name="Grafik 7">
            <a:hlinkClick r:id="rId11"/>
            <a:extLst>
              <a:ext uri="{FF2B5EF4-FFF2-40B4-BE49-F238E27FC236}">
                <a16:creationId xmlns:a16="http://schemas.microsoft.com/office/drawing/2014/main" id="{3FE50C2C-7093-4C6D-BAC5-384AB71DC0F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2417" y="193011"/>
            <a:ext cx="2121969" cy="30025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7BD96291-CA89-40CC-8106-2F22625FFBC2}"/>
              </a:ext>
            </a:extLst>
          </p:cNvPr>
          <p:cNvSpPr txBox="1"/>
          <p:nvPr/>
        </p:nvSpPr>
        <p:spPr>
          <a:xfrm rot="16200000">
            <a:off x="-1328924" y="4562392"/>
            <a:ext cx="316485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latin typeface="Microsoft JhengHei Light" panose="020B0304030504040204" pitchFamily="34" charset="-120"/>
                <a:ea typeface="Microsoft JhengHei Light" panose="020B0304030504040204" pitchFamily="34" charset="-120"/>
              </a:rPr>
              <a:t>Bücher anklicken – mehr erfahren</a:t>
            </a:r>
          </a:p>
        </p:txBody>
      </p:sp>
      <p:pic>
        <p:nvPicPr>
          <p:cNvPr id="9" name="Grafik 8">
            <a:hlinkClick r:id="rId13"/>
            <a:extLst>
              <a:ext uri="{FF2B5EF4-FFF2-40B4-BE49-F238E27FC236}">
                <a16:creationId xmlns:a16="http://schemas.microsoft.com/office/drawing/2014/main" id="{283AE58E-FC69-459F-B336-2D53A0AD784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2417" y="3429631"/>
            <a:ext cx="2121969" cy="269979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6AF41EB0-23F4-7853-8074-92EC4717B12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8" r="1558"/>
          <a:stretch/>
        </p:blipFill>
        <p:spPr>
          <a:xfrm>
            <a:off x="9924056" y="4733488"/>
            <a:ext cx="1925668" cy="1925668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1532379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918E863-E449-4E9B-96FD-3DE4E211DA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sourcen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0C5CA75-F50B-4E59-BA26-D97E0360F1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Manage </a:t>
            </a:r>
            <a:r>
              <a:rPr lang="de-DE" dirty="0" err="1">
                <a:hlinkClick r:id="rId2"/>
              </a:rPr>
              <a:t>who</a:t>
            </a:r>
            <a:r>
              <a:rPr lang="de-DE" dirty="0">
                <a:hlinkClick r:id="rId2"/>
              </a:rPr>
              <a:t> </a:t>
            </a:r>
            <a:r>
              <a:rPr lang="de-DE" dirty="0" err="1">
                <a:hlinkClick r:id="rId2"/>
              </a:rPr>
              <a:t>can</a:t>
            </a:r>
            <a:r>
              <a:rPr lang="de-DE" dirty="0">
                <a:hlinkClick r:id="rId2"/>
              </a:rPr>
              <a:t> </a:t>
            </a:r>
            <a:r>
              <a:rPr lang="de-DE" dirty="0" err="1">
                <a:hlinkClick r:id="rId2"/>
              </a:rPr>
              <a:t>create</a:t>
            </a:r>
            <a:r>
              <a:rPr lang="de-DE" dirty="0">
                <a:hlinkClick r:id="rId2"/>
              </a:rPr>
              <a:t> Microsoft 365 Groups</a:t>
            </a:r>
            <a:endParaRPr lang="de-DE" dirty="0"/>
          </a:p>
          <a:p>
            <a:r>
              <a:rPr lang="de-DE" dirty="0" err="1">
                <a:hlinkClick r:id="rId3"/>
              </a:rPr>
              <a:t>Choose</a:t>
            </a:r>
            <a:r>
              <a:rPr lang="de-DE" dirty="0">
                <a:hlinkClick r:id="rId3"/>
              </a:rPr>
              <a:t> the </a:t>
            </a:r>
            <a:r>
              <a:rPr lang="de-DE" dirty="0" err="1">
                <a:hlinkClick r:id="rId3"/>
              </a:rPr>
              <a:t>domain</a:t>
            </a:r>
            <a:r>
              <a:rPr lang="de-DE" dirty="0">
                <a:hlinkClick r:id="rId3"/>
              </a:rPr>
              <a:t> to </a:t>
            </a:r>
            <a:r>
              <a:rPr lang="de-DE" dirty="0" err="1">
                <a:hlinkClick r:id="rId3"/>
              </a:rPr>
              <a:t>use</a:t>
            </a:r>
            <a:r>
              <a:rPr lang="de-DE" dirty="0">
                <a:hlinkClick r:id="rId3"/>
              </a:rPr>
              <a:t> when </a:t>
            </a:r>
            <a:r>
              <a:rPr lang="de-DE" dirty="0" err="1">
                <a:hlinkClick r:id="rId3"/>
              </a:rPr>
              <a:t>creating</a:t>
            </a:r>
            <a:r>
              <a:rPr lang="de-DE" dirty="0">
                <a:hlinkClick r:id="rId3"/>
              </a:rPr>
              <a:t> Microsoft 365 </a:t>
            </a:r>
            <a:r>
              <a:rPr lang="de-DE" dirty="0" err="1">
                <a:hlinkClick r:id="rId3"/>
              </a:rPr>
              <a:t>groups</a:t>
            </a:r>
            <a:endParaRPr lang="de-DE" dirty="0"/>
          </a:p>
          <a:p>
            <a:r>
              <a:rPr lang="de-DE" dirty="0" err="1">
                <a:hlinkClick r:id="rId4"/>
              </a:rPr>
              <a:t>Configure</a:t>
            </a:r>
            <a:r>
              <a:rPr lang="de-DE" dirty="0">
                <a:hlinkClick r:id="rId4"/>
              </a:rPr>
              <a:t> Microsoft 365 Groups with on-premises Exchange hybrid</a:t>
            </a:r>
            <a:r>
              <a:rPr lang="de-DE" dirty="0"/>
              <a:t> </a:t>
            </a:r>
          </a:p>
          <a:p>
            <a:r>
              <a:rPr lang="de-DE" dirty="0">
                <a:hlinkClick r:id="rId5"/>
              </a:rPr>
              <a:t>Plan </a:t>
            </a:r>
            <a:r>
              <a:rPr lang="de-DE" dirty="0" err="1">
                <a:hlinkClick r:id="rId5"/>
              </a:rPr>
              <a:t>organization</a:t>
            </a:r>
            <a:r>
              <a:rPr lang="de-DE" dirty="0">
                <a:hlinkClick r:id="rId5"/>
              </a:rPr>
              <a:t> and </a:t>
            </a:r>
            <a:r>
              <a:rPr lang="de-DE" dirty="0" err="1">
                <a:hlinkClick r:id="rId5"/>
              </a:rPr>
              <a:t>lifecycle</a:t>
            </a:r>
            <a:r>
              <a:rPr lang="de-DE" dirty="0">
                <a:hlinkClick r:id="rId5"/>
              </a:rPr>
              <a:t> </a:t>
            </a:r>
            <a:r>
              <a:rPr lang="de-DE" dirty="0" err="1">
                <a:hlinkClick r:id="rId5"/>
              </a:rPr>
              <a:t>governance</a:t>
            </a:r>
            <a:r>
              <a:rPr lang="de-DE" dirty="0">
                <a:hlinkClick r:id="rId5"/>
              </a:rPr>
              <a:t> </a:t>
            </a:r>
            <a:r>
              <a:rPr lang="de-DE" dirty="0" err="1">
                <a:hlinkClick r:id="rId5"/>
              </a:rPr>
              <a:t>for</a:t>
            </a:r>
            <a:r>
              <a:rPr lang="de-DE" dirty="0">
                <a:hlinkClick r:id="rId5"/>
              </a:rPr>
              <a:t> Microsoft 365 </a:t>
            </a:r>
            <a:r>
              <a:rPr lang="de-DE" dirty="0" err="1">
                <a:hlinkClick r:id="rId5"/>
              </a:rPr>
              <a:t>groups</a:t>
            </a:r>
            <a:r>
              <a:rPr lang="de-DE" dirty="0">
                <a:hlinkClick r:id="rId5"/>
              </a:rPr>
              <a:t> and Microsoft Teams</a:t>
            </a:r>
            <a:endParaRPr lang="de-DE" dirty="0"/>
          </a:p>
          <a:p>
            <a:r>
              <a:rPr lang="de-DE" dirty="0">
                <a:hlinkClick r:id="rId6"/>
              </a:rPr>
              <a:t>Darstellungen zu Microsoft 365-Produktivitätslösungen</a:t>
            </a:r>
            <a:r>
              <a:rPr lang="de-DE" dirty="0"/>
              <a:t> </a:t>
            </a:r>
          </a:p>
          <a:p>
            <a:r>
              <a:rPr lang="de-DE" dirty="0">
                <a:hlinkClick r:id="rId7"/>
              </a:rPr>
              <a:t>Archivieren oder Löschen eines Teams in Microsoft Teams</a:t>
            </a:r>
            <a:endParaRPr lang="de-DE" dirty="0"/>
          </a:p>
          <a:p>
            <a:r>
              <a:rPr lang="de-DE" dirty="0">
                <a:hlinkClick r:id="rId8"/>
              </a:rPr>
              <a:t>Wiederherstellen einer gelöschten Microsoft 365-Gruppe</a:t>
            </a:r>
            <a:r>
              <a:rPr lang="de-DE" dirty="0"/>
              <a:t>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67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21F070-DF47-9F1B-CF70-EF3D3C974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visionierte Dienst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02CA08E-7DF5-2161-7623-6B107F7B49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63872" y="843416"/>
            <a:ext cx="7418328" cy="5878379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DCA572BB-B66A-5502-5CF2-B675AF2F1EA0}"/>
              </a:ext>
            </a:extLst>
          </p:cNvPr>
          <p:cNvSpPr txBox="1"/>
          <p:nvPr/>
        </p:nvSpPr>
        <p:spPr>
          <a:xfrm>
            <a:off x="20491" y="6614073"/>
            <a:ext cx="6096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/>
              <a:t>Quelle: Microsoft</a:t>
            </a:r>
          </a:p>
        </p:txBody>
      </p:sp>
    </p:spTree>
    <p:extLst>
      <p:ext uri="{BB962C8B-B14F-4D97-AF65-F5344CB8AC3E}">
        <p14:creationId xmlns:p14="http://schemas.microsoft.com/office/powerpoint/2010/main" val="162531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1202CC-D39C-B601-4D35-12D072E06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bekomme ich wann?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E7432F5-92E5-102A-D0BC-31E5FAFD98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360" y="1118819"/>
            <a:ext cx="10482262" cy="55777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CEE1B3F2-A298-25C5-F5AD-481DE99B24EB}"/>
              </a:ext>
            </a:extLst>
          </p:cNvPr>
          <p:cNvSpPr txBox="1"/>
          <p:nvPr/>
        </p:nvSpPr>
        <p:spPr>
          <a:xfrm>
            <a:off x="20491" y="6614073"/>
            <a:ext cx="6096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/>
              <a:t>Quelle: Matt Wade, </a:t>
            </a:r>
            <a:r>
              <a:rPr lang="de-DE" sz="800" dirty="0">
                <a:hlinkClick r:id="rId3"/>
              </a:rPr>
              <a:t>https://www.jumpto365.com/blog/everyday-guide-to-office-365-groups</a:t>
            </a:r>
            <a:r>
              <a:rPr lang="de-DE" sz="800" dirty="0"/>
              <a:t> 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F21BB53-FF83-0FEA-4490-6FF753B813B6}"/>
              </a:ext>
            </a:extLst>
          </p:cNvPr>
          <p:cNvSpPr/>
          <p:nvPr/>
        </p:nvSpPr>
        <p:spPr>
          <a:xfrm>
            <a:off x="8905461" y="2910177"/>
            <a:ext cx="2258170" cy="1693628"/>
          </a:xfrm>
          <a:prstGeom prst="rect">
            <a:avLst/>
          </a:prstGeom>
          <a:noFill/>
          <a:ln w="571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6577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0E8EAA7-76C4-4D2B-81CE-57CA4627D3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hänge </a:t>
            </a:r>
            <a:br>
              <a:rPr lang="de-DE" dirty="0"/>
            </a:br>
            <a:r>
              <a:rPr lang="de-DE" dirty="0"/>
              <a:t>Microsoft 365 Gruppen, Teams und SharePoin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4140262-613E-47E0-8110-F2C2EDE2EF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541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9D1177DD-1595-5C77-A720-F88752F4B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ams – Standardkanäl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34324F4-EF54-BB74-5F83-7CFDC3B52DA1}"/>
              </a:ext>
            </a:extLst>
          </p:cNvPr>
          <p:cNvSpPr/>
          <p:nvPr/>
        </p:nvSpPr>
        <p:spPr>
          <a:xfrm>
            <a:off x="508943" y="1403648"/>
            <a:ext cx="3568555" cy="77084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Microsoft 365 Grupp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705107B-7F28-A541-D650-D00D5546E37E}"/>
              </a:ext>
            </a:extLst>
          </p:cNvPr>
          <p:cNvSpPr/>
          <p:nvPr/>
        </p:nvSpPr>
        <p:spPr>
          <a:xfrm>
            <a:off x="508943" y="2234318"/>
            <a:ext cx="3568554" cy="49298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Exchange Online Mailbox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1DEDC14-706C-4A1C-7D18-F960A9D2C664}"/>
              </a:ext>
            </a:extLst>
          </p:cNvPr>
          <p:cNvSpPr/>
          <p:nvPr/>
        </p:nvSpPr>
        <p:spPr>
          <a:xfrm>
            <a:off x="508943" y="2787128"/>
            <a:ext cx="3568554" cy="13435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SharePoint Online Team Site</a:t>
            </a:r>
          </a:p>
          <a:p>
            <a:pPr algn="ctr"/>
            <a:endParaRPr lang="de-DE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  <a:t>Team Site mit Dokumentenbibliothek und anderen Ressourcen für alle Standardkanäle</a:t>
            </a:r>
            <a:b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400" dirty="0">
                <a:latin typeface="Segoe UI" panose="020B0502040204020203" pitchFamily="34" charset="0"/>
                <a:cs typeface="Segoe UI" panose="020B0502040204020203" pitchFamily="34" charset="0"/>
              </a:rPr>
              <a:t>Vorlage </a:t>
            </a:r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GROUP0</a:t>
            </a:r>
          </a:p>
          <a:p>
            <a:endParaRPr lang="de-DE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8AEC07E-8E6C-D5E9-DE04-8349217E19E7}"/>
              </a:ext>
            </a:extLst>
          </p:cNvPr>
          <p:cNvSpPr/>
          <p:nvPr/>
        </p:nvSpPr>
        <p:spPr>
          <a:xfrm>
            <a:off x="430306" y="1343819"/>
            <a:ext cx="3723869" cy="2910130"/>
          </a:xfrm>
          <a:prstGeom prst="rect">
            <a:avLst/>
          </a:prstGeom>
          <a:noFill/>
          <a:ln w="57150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de-DE" sz="14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A6DD56E-ABA1-FE6E-92DE-0BE84534BF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5982" y="399774"/>
            <a:ext cx="7415212" cy="277858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523423FB-A3B3-E9B0-88F8-DAE012E97A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7564" y="3331535"/>
            <a:ext cx="7187119" cy="3900267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5CC13E41-EE1F-E342-80FD-609F91CE196F}"/>
              </a:ext>
            </a:extLst>
          </p:cNvPr>
          <p:cNvSpPr/>
          <p:nvPr/>
        </p:nvSpPr>
        <p:spPr>
          <a:xfrm>
            <a:off x="6291686" y="2431561"/>
            <a:ext cx="498220" cy="195774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CE96848-E0F5-7B7A-E6E3-3F8D8200F2FB}"/>
              </a:ext>
            </a:extLst>
          </p:cNvPr>
          <p:cNvSpPr/>
          <p:nvPr/>
        </p:nvSpPr>
        <p:spPr>
          <a:xfrm>
            <a:off x="7747592" y="1224631"/>
            <a:ext cx="4640788" cy="1953732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2675512-E6CE-D0E7-686B-46F75E77F6A9}"/>
              </a:ext>
            </a:extLst>
          </p:cNvPr>
          <p:cNvSpPr/>
          <p:nvPr/>
        </p:nvSpPr>
        <p:spPr>
          <a:xfrm>
            <a:off x="6789905" y="5570352"/>
            <a:ext cx="783077" cy="195774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1D6A927-50C6-FF2F-A182-936771778628}"/>
              </a:ext>
            </a:extLst>
          </p:cNvPr>
          <p:cNvSpPr/>
          <p:nvPr/>
        </p:nvSpPr>
        <p:spPr>
          <a:xfrm>
            <a:off x="507964" y="2800776"/>
            <a:ext cx="3568554" cy="1343575"/>
          </a:xfrm>
          <a:prstGeom prst="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  <a:buClr>
                <a:schemeClr val="accent1"/>
              </a:buClr>
            </a:pPr>
            <a:endParaRPr lang="de-DE" sz="14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36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6cd991bf-f022-4378-96e7-2c338aeb3f5a"/>
  <p:tag name="EE4P_LANGUAGE_ID" val="103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lFdPMWTHieVi7n.jQd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L8ozTCQO2h6XDSMmSUvw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F81422D0-1B7F-45FC-9539-32E46EF97D1D}" vid="{7C9CEDD5-69B6-42F0-BA25-9D785B0AD55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aec0156-abd9-49f6-baea-c88eb87f2e61" xsi:nil="true"/>
    <lcf76f155ced4ddcb4097134ff3c332f xmlns="17ab58a5-2879-41d1-9642-2a4467011df3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CF78A568FDC0E4299392705430D7B19" ma:contentTypeVersion="12" ma:contentTypeDescription="Ein neues Dokument erstellen." ma:contentTypeScope="" ma:versionID="c521c05cb219d0785ecf3786dce62375">
  <xsd:schema xmlns:xsd="http://www.w3.org/2001/XMLSchema" xmlns:xs="http://www.w3.org/2001/XMLSchema" xmlns:p="http://schemas.microsoft.com/office/2006/metadata/properties" xmlns:ns2="17ab58a5-2879-41d1-9642-2a4467011df3" xmlns:ns3="aaec0156-abd9-49f6-baea-c88eb87f2e61" targetNamespace="http://schemas.microsoft.com/office/2006/metadata/properties" ma:root="true" ma:fieldsID="7dc1485fcc0039fd0482ca4b400e3f52" ns2:_="" ns3:_="">
    <xsd:import namespace="17ab58a5-2879-41d1-9642-2a4467011df3"/>
    <xsd:import namespace="aaec0156-abd9-49f6-baea-c88eb87f2e6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ab58a5-2879-41d1-9642-2a4467011df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64763954-0182-4134-aef4-c392164e337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ec0156-abd9-49f6-baea-c88eb87f2e61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a30b87b6-7fed-4985-b351-d4e59206836e}" ma:internalName="TaxCatchAll" ma:showField="CatchAllData" ma:web="aaec0156-abd9-49f6-baea-c88eb87f2e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66A78A5-FA16-4DDE-8A19-3ACA59D83470}">
  <ds:schemaRefs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aaec0156-abd9-49f6-baea-c88eb87f2e61"/>
    <ds:schemaRef ds:uri="17ab58a5-2879-41d1-9642-2a4467011df3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0052B0C3-FED7-4836-8D33-3D9CE910DDB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E125CF1-EAE9-45A2-A540-F3FBE8F349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ab58a5-2879-41d1-9642-2a4467011df3"/>
    <ds:schemaRef ds:uri="aaec0156-abd9-49f6-baea-c88eb87f2e6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99</Words>
  <Application>Microsoft Office PowerPoint</Application>
  <PresentationFormat>Breitbild</PresentationFormat>
  <Paragraphs>591</Paragraphs>
  <Slides>57</Slides>
  <Notes>48</Notes>
  <HiddenSlides>8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7</vt:i4>
      </vt:variant>
    </vt:vector>
  </HeadingPairs>
  <TitlesOfParts>
    <vt:vector size="66" baseType="lpstr">
      <vt:lpstr>Microsoft JhengHei Light</vt:lpstr>
      <vt:lpstr>Microsoft YaHei</vt:lpstr>
      <vt:lpstr>Arial</vt:lpstr>
      <vt:lpstr>Calibri</vt:lpstr>
      <vt:lpstr>Calibri Light</vt:lpstr>
      <vt:lpstr>Segoe UI</vt:lpstr>
      <vt:lpstr>Wingdings</vt:lpstr>
      <vt:lpstr>Office</vt:lpstr>
      <vt:lpstr>think-cell Slide</vt:lpstr>
      <vt:lpstr>Microsoft 365 Gruppen Ein Überblick </vt:lpstr>
      <vt:lpstr>Microsoft 365 Gruppen</vt:lpstr>
      <vt:lpstr>Microsoft 365 Gruppen</vt:lpstr>
      <vt:lpstr>Zusammenarbeit in Microsoft 365</vt:lpstr>
      <vt:lpstr>Microsoft 365 Gruppen – Was gehört dazu?</vt:lpstr>
      <vt:lpstr>Provisionierte Dienste</vt:lpstr>
      <vt:lpstr>Was bekomme ich wann?</vt:lpstr>
      <vt:lpstr>Zusammenhänge  Microsoft 365 Gruppen, Teams und SharePoint</vt:lpstr>
      <vt:lpstr>Teams – Standardkanäle </vt:lpstr>
      <vt:lpstr>Teams – Private Kanäle</vt:lpstr>
      <vt:lpstr>Teams – Private Kanäle</vt:lpstr>
      <vt:lpstr>Administration von Kanal Team Sites  im SharePoint Admin Center</vt:lpstr>
      <vt:lpstr>Administration von Kanal Team Sites  im SharePoint Admin Center</vt:lpstr>
      <vt:lpstr>SharePoint Berechtigungen</vt:lpstr>
      <vt:lpstr>SharePoint Berechtigungen – Private Kanäle</vt:lpstr>
      <vt:lpstr>SharePoint Berechtigungen – Private Kanäle</vt:lpstr>
      <vt:lpstr>Lebenszyklus und Aufbewahrung</vt:lpstr>
      <vt:lpstr>Lebenszyklus vs Aufbewahrung</vt:lpstr>
      <vt:lpstr>Gruppen-Ablaufdatum</vt:lpstr>
      <vt:lpstr>Microsoft 365 Aufbewahrungsrichtlinien</vt:lpstr>
      <vt:lpstr>Microsoft 365 Aufbewahrungsrichtlinien</vt:lpstr>
      <vt:lpstr>Microsoft 365 Aufbewahrungsrichtlinien</vt:lpstr>
      <vt:lpstr>Gruppen-Ablaufdatum</vt:lpstr>
      <vt:lpstr>Aufbewahrung von  Inhalten</vt:lpstr>
      <vt:lpstr>Aufbewahrung von  Inhalten</vt:lpstr>
      <vt:lpstr>Betrieb</vt:lpstr>
      <vt:lpstr>Verwaltung von Microsoft 365 Gruppen</vt:lpstr>
      <vt:lpstr>Microsoft 365 Gruppen – Family Tree </vt:lpstr>
      <vt:lpstr>Erstellung von Microsoft 365 Gruppen</vt:lpstr>
      <vt:lpstr>Erstellung von Gruppen in Microsoft 365</vt:lpstr>
      <vt:lpstr>Administrative Rollen</vt:lpstr>
      <vt:lpstr>Microsoft 365 Gruppen - Governance</vt:lpstr>
      <vt:lpstr>Microsoft Teams – Archivieren oder Löschen?</vt:lpstr>
      <vt:lpstr>Microsoft 365 Spracheinstellungen 1/3</vt:lpstr>
      <vt:lpstr>Microsoft 365 Spracheinstellungen 2/3</vt:lpstr>
      <vt:lpstr>Microsoft 365 Spracheinstellungen 3/3</vt:lpstr>
      <vt:lpstr>Nutzungsszenarien</vt:lpstr>
      <vt:lpstr>Gruppenarten in Microsoft 365</vt:lpstr>
      <vt:lpstr>Gruppen in Microsoft 365 nach Verwendungszweck</vt:lpstr>
      <vt:lpstr>Nutzungsszenarien einer Microsoft 365 Gruppe</vt:lpstr>
      <vt:lpstr>Technik</vt:lpstr>
      <vt:lpstr>Grenzen der Gruppenkonfiguration</vt:lpstr>
      <vt:lpstr>Microsoft 365 Gruppen – Family Tree </vt:lpstr>
      <vt:lpstr>Active Directory Synchronisation – M365 Gruppen</vt:lpstr>
      <vt:lpstr>Active Directory Synchronisation – M365 Gruppen</vt:lpstr>
      <vt:lpstr>Gruppenzurückschreiben</vt:lpstr>
      <vt:lpstr>E-Mail-Fluss</vt:lpstr>
      <vt:lpstr>Abhängigkeiten für Gruppen E-Mail-Adressen</vt:lpstr>
      <vt:lpstr>Gruppen- und Teams Kanal-E-Mails</vt:lpstr>
      <vt:lpstr>Gruppen- und Teams Kanal-E-Mails</vt:lpstr>
      <vt:lpstr>Gruppen-E-Mails von Extern (Option)</vt:lpstr>
      <vt:lpstr>Kanal-E-Mails von Extern (Option)</vt:lpstr>
      <vt:lpstr>Hybride Besonderheiten</vt:lpstr>
      <vt:lpstr>In from AAD - Group SOAInAAD</vt:lpstr>
      <vt:lpstr>Out to AD - Group SOAInAAD - Exchange</vt:lpstr>
      <vt:lpstr>PowerPoint-Präsentation</vt:lpstr>
      <vt:lpstr>Ressourc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USG 2023 Q2 - Microsoft 365 Gruppen</dc:title>
  <dc:creator>Thomas Stensitzki</dc:creator>
  <cp:keywords>Tech Talk</cp:keywords>
  <cp:lastModifiedBy>Thomas Stensitzki</cp:lastModifiedBy>
  <cp:revision>3</cp:revision>
  <dcterms:created xsi:type="dcterms:W3CDTF">2020-03-07T13:37:22Z</dcterms:created>
  <dcterms:modified xsi:type="dcterms:W3CDTF">2023-05-11T14:51:14Z</dcterms:modified>
  <cp:category>Microsoft 365;Exchange Online</cp:category>
  <cp:contentStatus>Draft</cp:contentStatus>
</cp:coreProperties>
</file>